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704" r:id="rId3"/>
    <p:sldMasterId id="2147483711" r:id="rId4"/>
    <p:sldMasterId id="2147483745" r:id="rId5"/>
  </p:sldMasterIdLst>
  <p:notesMasterIdLst>
    <p:notesMasterId r:id="rId43"/>
  </p:notesMasterIdLst>
  <p:sldIdLst>
    <p:sldId id="261" r:id="rId6"/>
    <p:sldId id="328" r:id="rId7"/>
    <p:sldId id="416" r:id="rId8"/>
    <p:sldId id="415" r:id="rId9"/>
    <p:sldId id="397" r:id="rId10"/>
    <p:sldId id="402" r:id="rId11"/>
    <p:sldId id="386" r:id="rId12"/>
    <p:sldId id="401" r:id="rId13"/>
    <p:sldId id="400" r:id="rId14"/>
    <p:sldId id="388" r:id="rId15"/>
    <p:sldId id="403" r:id="rId16"/>
    <p:sldId id="408" r:id="rId17"/>
    <p:sldId id="404" r:id="rId18"/>
    <p:sldId id="384" r:id="rId19"/>
    <p:sldId id="405" r:id="rId20"/>
    <p:sldId id="379" r:id="rId21"/>
    <p:sldId id="409" r:id="rId22"/>
    <p:sldId id="410" r:id="rId23"/>
    <p:sldId id="381" r:id="rId24"/>
    <p:sldId id="411" r:id="rId25"/>
    <p:sldId id="412" r:id="rId26"/>
    <p:sldId id="380" r:id="rId27"/>
    <p:sldId id="414" r:id="rId28"/>
    <p:sldId id="393" r:id="rId29"/>
    <p:sldId id="413" r:id="rId30"/>
    <p:sldId id="389" r:id="rId31"/>
    <p:sldId id="390" r:id="rId32"/>
    <p:sldId id="392" r:id="rId33"/>
    <p:sldId id="391" r:id="rId34"/>
    <p:sldId id="259" r:id="rId35"/>
    <p:sldId id="406" r:id="rId36"/>
    <p:sldId id="383" r:id="rId37"/>
    <p:sldId id="407" r:id="rId38"/>
    <p:sldId id="394" r:id="rId39"/>
    <p:sldId id="417" r:id="rId40"/>
    <p:sldId id="370" r:id="rId41"/>
    <p:sldId id="264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ndro Pereira" initials="SP" lastIdx="1" clrIdx="0">
    <p:extLst>
      <p:ext uri="{19B8F6BF-5375-455C-9EA6-DF929625EA0E}">
        <p15:presenceInfo xmlns:p15="http://schemas.microsoft.com/office/powerpoint/2012/main" userId="S::sandro.pereira@devscope.net::cff2b4a5-ede0-4697-b222-bd58482346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CFFD"/>
    <a:srgbClr val="039BE6"/>
    <a:srgbClr val="04326C"/>
    <a:srgbClr val="A78D61"/>
    <a:srgbClr val="0072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>
        <p:scale>
          <a:sx n="75" d="100"/>
          <a:sy n="75" d="100"/>
        </p:scale>
        <p:origin x="1056" y="9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F80D96-9150-4C1A-90E1-07541CF686C9}" type="datetimeFigureOut">
              <a:rPr lang="pt-PT" smtClean="0"/>
              <a:t>23/04/2020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2D2667-4472-48DC-AE2F-992BD7C9644F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78550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hyperlink" Target="http://www.devscope.net/" TargetMode="Externa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hyperlink" Target="http://www.devscope.net/" TargetMode="Externa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Sober blue">
    <p:bg>
      <p:bgPr>
        <a:solidFill>
          <a:srgbClr val="0A79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343252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"/>
            <a:ext cx="12192234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 bwMode="gray">
          <a:xfrm>
            <a:off x="269304" y="2084147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4" y="2082443"/>
            <a:ext cx="7172954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 bwMode="ltGray">
          <a:xfrm>
            <a:off x="269304" y="3877257"/>
            <a:ext cx="7172954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8214" y="6182036"/>
            <a:ext cx="986066" cy="191269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auto">
          <a:xfrm>
            <a:off x="448215" y="470068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280755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"/>
            <a:ext cx="12181494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 bwMode="gray">
          <a:xfrm>
            <a:off x="269304" y="1187644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241" y="1187645"/>
            <a:ext cx="7171399" cy="1793108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 bwMode="ltGray">
          <a:xfrm>
            <a:off x="269304" y="2971410"/>
            <a:ext cx="717139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53450" y="6164664"/>
            <a:ext cx="986066" cy="191269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auto">
          <a:xfrm>
            <a:off x="451549" y="487593"/>
            <a:ext cx="2599604" cy="537925"/>
          </a:xfrm>
          <a:prstGeom prst="rect">
            <a:avLst/>
          </a:prstGeom>
          <a:noFill/>
          <a:ln w="25400" cap="sq">
            <a:solidFill>
              <a:srgbClr val="FFFFFF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FFFFFF"/>
                    </a:gs>
                    <a:gs pos="15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304087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" y="0"/>
            <a:ext cx="12191564" cy="6860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757348" y="6196665"/>
            <a:ext cx="986066" cy="191269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gray">
          <a:xfrm>
            <a:off x="269304" y="1187620"/>
            <a:ext cx="7171399" cy="448276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241" y="1187620"/>
            <a:ext cx="7171399" cy="1793108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Monitor and Manage using BizTalk360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 bwMode="ltGray">
          <a:xfrm>
            <a:off x="269304" y="2971385"/>
            <a:ext cx="717139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err="1"/>
              <a:t>Saravana</a:t>
            </a:r>
            <a:r>
              <a:rPr lang="en-US" dirty="0"/>
              <a:t> Kumar</a:t>
            </a:r>
          </a:p>
          <a:p>
            <a:pPr lvl="0"/>
            <a:r>
              <a:rPr lang="en-US" dirty="0"/>
              <a:t>Founder/CTO, Microsoft Integration MVP</a:t>
            </a:r>
          </a:p>
        </p:txBody>
      </p:sp>
      <p:pic>
        <p:nvPicPr>
          <p:cNvPr id="9" name="Picture 2" descr="C:\Users\spereira\Desktop\Imagem DevScope\devscope-with-signature.png">
            <a:hlinkClick r:id="rId4"/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601" y="4789686"/>
            <a:ext cx="2510088" cy="88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0864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4" y="2"/>
            <a:ext cx="12182535" cy="685799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53450" y="6164664"/>
            <a:ext cx="986066" cy="191269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gray">
          <a:xfrm>
            <a:off x="269304" y="2084147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4" y="2082443"/>
            <a:ext cx="7171399" cy="1794808"/>
          </a:xfrm>
          <a:noFill/>
        </p:spPr>
        <p:txBody>
          <a:bodyPr lIns="146304" tIns="91440" rIns="146304" bIns="91440" anchor="t" anchorCtr="0"/>
          <a:lstStyle>
            <a:lvl1pPr>
              <a:defRPr sz="5294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/>
          </p:nvPr>
        </p:nvSpPr>
        <p:spPr bwMode="ltGray">
          <a:xfrm>
            <a:off x="269304" y="3877257"/>
            <a:ext cx="7171399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448215" y="470068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291595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0"/>
            <a:ext cx="12192000" cy="685570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0168" y="6164664"/>
            <a:ext cx="986066" cy="19126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269304" y="1187621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241" y="1187620"/>
            <a:ext cx="7171399" cy="1793108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 hasCustomPrompt="1"/>
          </p:nvPr>
        </p:nvSpPr>
        <p:spPr bwMode="ltGray">
          <a:xfrm>
            <a:off x="269304" y="2971385"/>
            <a:ext cx="717139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448586" y="470068"/>
            <a:ext cx="2599604" cy="537925"/>
          </a:xfrm>
          <a:prstGeom prst="rect">
            <a:avLst/>
          </a:prstGeom>
          <a:noFill/>
          <a:ln w="25400" cap="sq">
            <a:solidFill>
              <a:srgbClr val="FFFFFF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FFFFFF"/>
                    </a:gs>
                    <a:gs pos="15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18261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40" y="1186357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7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8"/>
            <a:ext cx="9860675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4359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7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8"/>
            <a:ext cx="9860675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126636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7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5881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7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937881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6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581644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443110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6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2590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6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177962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205098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9" indent="0">
              <a:buNone/>
              <a:defRPr/>
            </a:lvl3pPr>
            <a:lvl4pPr marL="448119" indent="0">
              <a:buNone/>
              <a:defRPr/>
            </a:lvl4pPr>
            <a:lvl5pPr marL="67217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93524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205098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9" indent="0">
              <a:buNone/>
              <a:defRPr/>
            </a:lvl3pPr>
            <a:lvl4pPr marL="448119" indent="0">
              <a:buNone/>
              <a:defRPr/>
            </a:lvl4pPr>
            <a:lvl5pPr marL="67217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6502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2117332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032185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211733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07994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248563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71" indent="0">
              <a:buNone/>
              <a:tabLst/>
              <a:defRPr sz="1961"/>
            </a:lvl3pPr>
            <a:lvl4pPr marL="451231" indent="0">
              <a:buNone/>
              <a:defRPr/>
            </a:lvl4pPr>
            <a:lvl5pPr marL="672178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6" y="1189176"/>
            <a:ext cx="5378548" cy="248563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71" indent="0">
              <a:buNone/>
              <a:tabLst/>
              <a:defRPr sz="1961"/>
            </a:lvl3pPr>
            <a:lvl4pPr marL="451231" indent="0">
              <a:buNone/>
              <a:defRPr/>
            </a:lvl4pPr>
            <a:lvl5pPr marL="672178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91485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248563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171" indent="0">
              <a:buNone/>
              <a:tabLst/>
              <a:defRPr sz="1961"/>
            </a:lvl3pPr>
            <a:lvl4pPr marL="451231" indent="0">
              <a:buNone/>
              <a:defRPr/>
            </a:lvl4pPr>
            <a:lvl5pPr marL="672178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6" y="1189176"/>
            <a:ext cx="5378548" cy="248563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171" indent="0">
              <a:buNone/>
              <a:tabLst/>
              <a:defRPr sz="1961"/>
            </a:lvl3pPr>
            <a:lvl4pPr marL="451231" indent="0">
              <a:buNone/>
              <a:defRPr/>
            </a:lvl4pPr>
            <a:lvl5pPr marL="672178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64760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7"/>
            <a:ext cx="5378548" cy="2551980"/>
          </a:xfrm>
        </p:spPr>
        <p:txBody>
          <a:bodyPr wrap="square">
            <a:spAutoFit/>
          </a:bodyPr>
          <a:lstStyle>
            <a:lvl1pPr marL="281630" indent="-281630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9"/>
            </a:lvl1pPr>
            <a:lvl2pPr marL="520616" indent="-228563">
              <a:defRPr sz="2353"/>
            </a:lvl2pPr>
            <a:lvl3pPr marL="685688" indent="-165074">
              <a:tabLst/>
              <a:defRPr sz="1961"/>
            </a:lvl3pPr>
            <a:lvl4pPr marL="863458" indent="-177772">
              <a:defRPr/>
            </a:lvl4pPr>
            <a:lvl5pPr marL="1028532" indent="-1650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6" y="1189177"/>
            <a:ext cx="5378548" cy="2551980"/>
          </a:xfrm>
        </p:spPr>
        <p:txBody>
          <a:bodyPr wrap="square">
            <a:spAutoFit/>
          </a:bodyPr>
          <a:lstStyle>
            <a:lvl1pPr marL="281630" indent="-281630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9"/>
            </a:lvl1pPr>
            <a:lvl2pPr marL="520616" indent="-228563">
              <a:defRPr sz="2353"/>
            </a:lvl2pPr>
            <a:lvl3pPr marL="685688" indent="-165074">
              <a:tabLst/>
              <a:defRPr sz="1961"/>
            </a:lvl3pPr>
            <a:lvl4pPr marL="863458" indent="-177772">
              <a:defRPr/>
            </a:lvl4pPr>
            <a:lvl5pPr marL="1028532" indent="-1650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09121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7"/>
            <a:ext cx="5378548" cy="2551980"/>
          </a:xfrm>
        </p:spPr>
        <p:txBody>
          <a:bodyPr wrap="square">
            <a:spAutoFit/>
          </a:bodyPr>
          <a:lstStyle>
            <a:lvl1pPr marL="281630" indent="-281630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16" indent="-228563">
              <a:defRPr sz="2353"/>
            </a:lvl2pPr>
            <a:lvl3pPr marL="685688" indent="-165074">
              <a:tabLst/>
              <a:defRPr sz="1961"/>
            </a:lvl3pPr>
            <a:lvl4pPr marL="863458" indent="-177772">
              <a:defRPr/>
            </a:lvl4pPr>
            <a:lvl5pPr marL="1028532" indent="-1650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6" y="1189177"/>
            <a:ext cx="5378548" cy="2551980"/>
          </a:xfrm>
        </p:spPr>
        <p:txBody>
          <a:bodyPr wrap="square">
            <a:spAutoFit/>
          </a:bodyPr>
          <a:lstStyle>
            <a:lvl1pPr marL="281630" indent="-281630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16" indent="-228563">
              <a:defRPr sz="2353"/>
            </a:lvl2pPr>
            <a:lvl3pPr marL="685688" indent="-165074">
              <a:tabLst/>
              <a:defRPr sz="1961"/>
            </a:lvl3pPr>
            <a:lvl4pPr marL="863458" indent="-177772">
              <a:defRPr/>
            </a:lvl4pPr>
            <a:lvl5pPr marL="1028532" indent="-1650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6085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O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49813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07967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908923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4767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rgbClr val="9B9B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2553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657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6" tIns="45716" rIns="45716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spcBef>
                <a:spcPct val="0"/>
              </a:spcBef>
              <a:spcAft>
                <a:spcPct val="0"/>
              </a:spcAft>
            </a:pPr>
            <a:endParaRPr lang="en-US" sz="176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4"/>
            <a:ext cx="11653523" cy="202226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3967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729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79838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3012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150435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461101"/>
          </a:xfrm>
          <a:prstGeom prst="rect">
            <a:avLst/>
          </a:prstGeom>
        </p:spPr>
        <p:txBody>
          <a:bodyPr/>
          <a:lstStyle>
            <a:lvl1pPr marL="284743" indent="-284743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47" indent="-275407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89" indent="-284743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49" indent="-224059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009" indent="-224059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7"/>
            <a:ext cx="12192001" cy="619126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662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 userDrawn="1"/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3407" tIns="89630" rIns="143407" bIns="8963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704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040604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56307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8430105-5005-483F-954B-3C6569C100ED}"/>
              </a:ext>
            </a:extLst>
          </p:cNvPr>
          <p:cNvSpPr/>
          <p:nvPr userDrawn="1"/>
        </p:nvSpPr>
        <p:spPr>
          <a:xfrm>
            <a:off x="8687880" y="1"/>
            <a:ext cx="3502152" cy="68563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1"/>
            <a:ext cx="777348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0" y="1855894"/>
            <a:ext cx="6859080" cy="205215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94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1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6453CF-505B-4445-AE25-3625D5887F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306" y="0"/>
            <a:ext cx="122166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2641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F3322F4-6906-834F-ADFB-D300DE139D99}"/>
              </a:ext>
            </a:extLst>
          </p:cNvPr>
          <p:cNvSpPr/>
          <p:nvPr userDrawn="1"/>
        </p:nvSpPr>
        <p:spPr>
          <a:xfrm>
            <a:off x="0" y="6192458"/>
            <a:ext cx="12192000" cy="6662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AD281D-F1C8-4A42-B8C3-88D1344E6E8A}"/>
              </a:ext>
            </a:extLst>
          </p:cNvPr>
          <p:cNvSpPr/>
          <p:nvPr userDrawn="1"/>
        </p:nvSpPr>
        <p:spPr>
          <a:xfrm flipV="1">
            <a:off x="0" y="978525"/>
            <a:ext cx="12192000" cy="52139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FB96282-7A4B-0249-B683-08519B3C2E8B}"/>
              </a:ext>
            </a:extLst>
          </p:cNvPr>
          <p:cNvSpPr/>
          <p:nvPr userDrawn="1"/>
        </p:nvSpPr>
        <p:spPr>
          <a:xfrm>
            <a:off x="0" y="2"/>
            <a:ext cx="12192000" cy="9785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05936" y="2093748"/>
            <a:ext cx="10380133" cy="435825"/>
          </a:xfrm>
        </p:spPr>
        <p:txBody>
          <a:bodyPr/>
          <a:lstStyle>
            <a:lvl1pPr marL="0" indent="0">
              <a:spcBef>
                <a:spcPts val="588"/>
              </a:spcBef>
              <a:buNone/>
              <a:defRPr sz="1961" b="0">
                <a:solidFill>
                  <a:schemeClr val="tx1"/>
                </a:solidFill>
                <a:latin typeface="Segoe UI Semibold" panose="020B0702040204020203" pitchFamily="34" charset="0"/>
              </a:defRPr>
            </a:lvl1pPr>
            <a:lvl2pPr marL="569030" marR="0" indent="-457025" algn="l" defTabSz="543987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+mj-lt"/>
              <a:buAutoNum type="arabicPeriod"/>
              <a:tabLst/>
              <a:defRPr sz="1600" b="0" i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087975" indent="0">
              <a:buNone/>
              <a:defRPr>
                <a:solidFill>
                  <a:schemeClr val="accent4"/>
                </a:solidFill>
              </a:defRPr>
            </a:lvl3pPr>
            <a:lvl4pPr marL="1631962" indent="0">
              <a:buNone/>
              <a:defRPr>
                <a:solidFill>
                  <a:schemeClr val="accent4"/>
                </a:solidFill>
              </a:defRPr>
            </a:lvl4pPr>
            <a:lvl5pPr marL="2175949" indent="0">
              <a:buNone/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marL="569030" marR="0" lvl="1" indent="-457025" algn="l" defTabSz="543987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 sz="800" b="0" i="0">
                <a:solidFill>
                  <a:schemeClr val="accent5"/>
                </a:solidFill>
                <a:latin typeface="Segoe UI Light" panose="020B0502040204020203" pitchFamily="34" charset="0"/>
              </a:defRPr>
            </a:lvl1pPr>
          </a:lstStyle>
          <a:p>
            <a:fld id="{521AF0F0-C340-4F46-922A-5F0F8ED91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55869" y="142832"/>
            <a:ext cx="740833" cy="740833"/>
          </a:xfrm>
          <a:prstGeom prst="rect">
            <a:avLst/>
          </a:prstGeom>
        </p:spPr>
      </p:pic>
      <p:sp>
        <p:nvSpPr>
          <p:cNvPr id="15" name="Title 15">
            <a:extLst>
              <a:ext uri="{FF2B5EF4-FFF2-40B4-BE49-F238E27FC236}">
                <a16:creationId xmlns:a16="http://schemas.microsoft.com/office/drawing/2014/main" id="{998B0D03-A21B-EC49-AAE7-A954A8393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903" y="8570"/>
            <a:ext cx="10495964" cy="969957"/>
          </a:xfrm>
        </p:spPr>
        <p:txBody>
          <a:bodyPr/>
          <a:lstStyle>
            <a:lvl1pPr>
              <a:defRPr sz="2400" b="1" i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AC71146-AAE6-DE41-8C46-1C9441F29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5299" y="1371602"/>
            <a:ext cx="10790767" cy="722147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4"/>
              </a:spcAft>
              <a:buNone/>
              <a:defRPr sz="2200" b="0" i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7975" indent="0">
              <a:buNone/>
              <a:defRPr/>
            </a:lvl3pPr>
            <a:lvl4pPr marL="1631962" indent="0">
              <a:buNone/>
              <a:defRPr/>
            </a:lvl4pPr>
            <a:lvl5pPr marL="2175949" indent="0">
              <a:buNone/>
              <a:defRPr/>
            </a:lvl5pPr>
          </a:lstStyle>
          <a:p>
            <a:pPr lvl="0"/>
            <a:r>
              <a:rPr lang="en-US" dirty="0"/>
              <a:t>Content text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57DF37C-6CB7-1A49-B619-B3B0BFEA85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7565" y="6356353"/>
            <a:ext cx="8368938" cy="36512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" b="0" i="0">
                <a:solidFill>
                  <a:schemeClr val="accent5"/>
                </a:solidFill>
                <a:latin typeface="Segoe UI Light" panose="020B0502040204020203" pitchFamily="34" charset="0"/>
              </a:defRPr>
            </a:lvl1pPr>
          </a:lstStyle>
          <a:p>
            <a:r>
              <a:rPr lang="en-US" dirty="0" err="1"/>
              <a:t>Identificação</a:t>
            </a:r>
            <a:r>
              <a:rPr lang="en-US" dirty="0"/>
              <a:t> </a:t>
            </a:r>
            <a:r>
              <a:rPr lang="en-US" dirty="0" err="1"/>
              <a:t>cliente</a:t>
            </a:r>
            <a:r>
              <a:rPr lang="en-US" dirty="0"/>
              <a:t> – Nome do </a:t>
            </a:r>
            <a:r>
              <a:rPr lang="en-US" dirty="0" err="1"/>
              <a:t>projecto</a:t>
            </a:r>
            <a:r>
              <a:rPr lang="en-US" dirty="0"/>
              <a:t> – Data de </a:t>
            </a:r>
            <a:r>
              <a:rPr lang="en-US" dirty="0" err="1"/>
              <a:t>entrega</a:t>
            </a:r>
            <a:r>
              <a:rPr lang="en-US" dirty="0"/>
              <a:t> da </a:t>
            </a:r>
            <a:r>
              <a:rPr lang="en-US" dirty="0" err="1"/>
              <a:t>proposta</a:t>
            </a:r>
            <a:r>
              <a:rPr lang="en-US" dirty="0"/>
              <a:t>  - Nome </a:t>
            </a:r>
            <a:r>
              <a:rPr lang="en-US" dirty="0" err="1"/>
              <a:t>orador</a:t>
            </a:r>
            <a:r>
              <a:rPr lang="en-US" dirty="0"/>
              <a:t> - 2018-03-03</a:t>
            </a:r>
          </a:p>
        </p:txBody>
      </p:sp>
    </p:spTree>
    <p:extLst>
      <p:ext uri="{BB962C8B-B14F-4D97-AF65-F5344CB8AC3E}">
        <p14:creationId xmlns:p14="http://schemas.microsoft.com/office/powerpoint/2010/main" val="34501606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act Layout_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2971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6453CF-505B-4445-AE25-3625D5887F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306" y="0"/>
            <a:ext cx="122166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8518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761D4-BE34-45C0-9AA1-67CBA84C7A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4C2C62-8CA2-46A4-A5C7-18D511E1C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580FA0-A808-48A1-BD29-FC3407029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711D52-52D9-40D7-AA9A-895B1C1FAF4B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863C61-E365-4104-BD85-0D19C6E1E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B4E763-E716-414D-BAE9-D351B4606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4855E5-808E-4644-82C6-521FE1F825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563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FD2D6D-C881-4A34-9B88-FA083A9D7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EA07BD-293B-431B-8913-695FB38F909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8B1F10-3C4E-4F06-93C6-B4B629AE32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C54DB1-ECB6-4A4E-A0B5-E4C6BC625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711D52-52D9-40D7-AA9A-895B1C1FAF4B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D71493-4A02-4C55-8735-97A7E900A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DECC11-2A8E-48ED-93E0-30CE32201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4855E5-808E-4644-82C6-521FE1F825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9744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30F1A5-C890-49C3-A377-A3E4318E5D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ADA8F4-4AFB-4E58-9901-05117F389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711D52-52D9-40D7-AA9A-895B1C1FAF4B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FCCE53-43B1-4F59-B211-3A69F922C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19983E-C989-49D0-BE9B-B2EF5F341F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4855E5-808E-4644-82C6-521FE1F825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3789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E2750C1-200E-4370-A21F-A13DAE3D2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711D52-52D9-40D7-AA9A-895B1C1FAF4B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92FF49-FA91-4B8C-AB33-4134D4C93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DBD8C1-5F97-48CE-AA53-741C08DC0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4855E5-808E-4644-82C6-521FE1F825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9997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299BA-D550-439B-B8D0-563189C50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8C3FEBF-10E4-446E-9C44-F009BD629C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2CA254-A09F-40C5-BB13-0AF7128AE2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8FDA1F-B06E-420C-BE2F-DCF2AC546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711D52-52D9-40D7-AA9A-895B1C1FAF4B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5D3D2F-B912-42DE-9D79-481A2A999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D4DCED-E5F5-4AEA-B82F-B02FF0E5A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4855E5-808E-4644-82C6-521FE1F825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2585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757347" y="6196318"/>
            <a:ext cx="986067" cy="19126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448213" y="470067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1657722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ltGray">
          <a:xfrm>
            <a:off x="269239" y="2084172"/>
            <a:ext cx="8964248" cy="358620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chemeClr val="bg1"/>
                    </a:gs>
                    <a:gs pos="18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69302" y="3878574"/>
            <a:ext cx="8964186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757347" y="6196318"/>
            <a:ext cx="986067" cy="19126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448213" y="470067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391510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rgbClr val="039B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7574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757347" y="6196318"/>
            <a:ext cx="986067" cy="19126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448213" y="470067"/>
            <a:ext cx="2599604" cy="537925"/>
          </a:xfrm>
          <a:prstGeom prst="rect">
            <a:avLst/>
          </a:prstGeom>
          <a:noFill/>
          <a:ln w="25400" cap="sq">
            <a:solidFill>
              <a:srgbClr val="FFFFFF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FFFFFF"/>
                    </a:gs>
                    <a:gs pos="15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297370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12192234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 bwMode="gray">
          <a:xfrm>
            <a:off x="269302" y="2084147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2" y="2082443"/>
            <a:ext cx="7172955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 bwMode="ltGray">
          <a:xfrm>
            <a:off x="269302" y="3877255"/>
            <a:ext cx="7172955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8213" y="6182035"/>
            <a:ext cx="986067" cy="191269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auto">
          <a:xfrm>
            <a:off x="448213" y="470067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143273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218149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 bwMode="gray">
          <a:xfrm>
            <a:off x="269302" y="1187644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239" y="1187644"/>
            <a:ext cx="7171399" cy="17931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 bwMode="ltGray">
          <a:xfrm>
            <a:off x="269302" y="2971409"/>
            <a:ext cx="717139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53449" y="6164664"/>
            <a:ext cx="986067" cy="191269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auto">
          <a:xfrm>
            <a:off x="451548" y="487593"/>
            <a:ext cx="2599604" cy="537925"/>
          </a:xfrm>
          <a:prstGeom prst="rect">
            <a:avLst/>
          </a:prstGeom>
          <a:noFill/>
          <a:ln w="25400" cap="sq">
            <a:solidFill>
              <a:srgbClr val="FFFFFF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FFFFFF"/>
                    </a:gs>
                    <a:gs pos="15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106867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" y="0"/>
            <a:ext cx="12191564" cy="6860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757347" y="6196664"/>
            <a:ext cx="986067" cy="191269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gray">
          <a:xfrm>
            <a:off x="269302" y="1187620"/>
            <a:ext cx="7171399" cy="448276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239" y="1187620"/>
            <a:ext cx="7171399" cy="17931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Monitor and Manage using BizTalk360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 bwMode="ltGray">
          <a:xfrm>
            <a:off x="269302" y="2971385"/>
            <a:ext cx="717139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err="1"/>
              <a:t>Saravana</a:t>
            </a:r>
            <a:r>
              <a:rPr lang="en-US" dirty="0"/>
              <a:t> Kumar</a:t>
            </a:r>
          </a:p>
          <a:p>
            <a:pPr lvl="0"/>
            <a:r>
              <a:rPr lang="en-US" dirty="0"/>
              <a:t>Founder/CTO, Microsoft Integration MVP</a:t>
            </a:r>
          </a:p>
        </p:txBody>
      </p:sp>
      <p:pic>
        <p:nvPicPr>
          <p:cNvPr id="9" name="Picture 2" descr="C:\Users\spereira\Desktop\Imagem DevScope\devscope-with-signature.png">
            <a:hlinkClick r:id="rId4"/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601" y="4789685"/>
            <a:ext cx="2510088" cy="88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837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3" y="0"/>
            <a:ext cx="12182534" cy="685799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53449" y="6164664"/>
            <a:ext cx="986067" cy="191269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gray">
          <a:xfrm>
            <a:off x="269302" y="2084147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2" y="2082443"/>
            <a:ext cx="7171399" cy="1794808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/>
          </p:nvPr>
        </p:nvSpPr>
        <p:spPr bwMode="ltGray">
          <a:xfrm>
            <a:off x="269302" y="3877255"/>
            <a:ext cx="7171399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448213" y="470067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132532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9"/>
            <a:ext cx="12192000" cy="685570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0167" y="6164664"/>
            <a:ext cx="986067" cy="19126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269302" y="1187621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239" y="1187620"/>
            <a:ext cx="7171399" cy="17931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 hasCustomPrompt="1"/>
          </p:nvPr>
        </p:nvSpPr>
        <p:spPr bwMode="ltGray">
          <a:xfrm>
            <a:off x="269302" y="2971385"/>
            <a:ext cx="717139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448585" y="470067"/>
            <a:ext cx="2599604" cy="537925"/>
          </a:xfrm>
          <a:prstGeom prst="rect">
            <a:avLst/>
          </a:prstGeom>
          <a:noFill/>
          <a:ln w="25400" cap="sq">
            <a:solidFill>
              <a:srgbClr val="FFFFFF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FFFFFF"/>
                    </a:gs>
                    <a:gs pos="15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2165602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7149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67484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58579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51773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7219379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62012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71794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48646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538927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6654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5306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851314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5306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691323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7518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524318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9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9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84867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3"/>
            <a:ext cx="627341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757348" y="6196319"/>
            <a:ext cx="986066" cy="19126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448215" y="470068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398679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77520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468127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84560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39B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8540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rgbClr val="9B9B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4978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0386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466466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235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 userDrawn="1"/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705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371109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0" name="Picture 10" descr="http://www.wallpaperbetter.com/wallpaper/637/591/681/oriente-station-lisbon-portugal-1080P-wallpap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7" y="0"/>
            <a:ext cx="1219044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 bwMode="gray">
          <a:xfrm>
            <a:off x="123116" y="1381527"/>
            <a:ext cx="8655398" cy="4447957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23116" y="1380676"/>
            <a:ext cx="7667103" cy="1795660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 bwMode="ltGray">
          <a:xfrm>
            <a:off x="123116" y="3175490"/>
            <a:ext cx="7667103" cy="179084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17" y="5796424"/>
            <a:ext cx="2262982" cy="950893"/>
          </a:xfrm>
          <a:prstGeom prst="rect">
            <a:avLst/>
          </a:prstGeom>
        </p:spPr>
      </p:pic>
      <p:sp>
        <p:nvSpPr>
          <p:cNvPr id="2" name="AutoShape 2" descr="https://www.carcavelossurfschool.com/wp-content/uploads/2016/05/Sunrise-Torre-Belem-Lisbon-Portugal-2-2.jpg"/>
          <p:cNvSpPr>
            <a:spLocks noChangeAspect="1" noChangeArrowheads="1"/>
          </p:cNvSpPr>
          <p:nvPr userDrawn="1"/>
        </p:nvSpPr>
        <p:spPr bwMode="auto">
          <a:xfrm>
            <a:off x="5946596" y="3279575"/>
            <a:ext cx="298808" cy="298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pt-PT" sz="1765"/>
          </a:p>
        </p:txBody>
      </p:sp>
      <p:sp>
        <p:nvSpPr>
          <p:cNvPr id="4" name="AutoShape 8" descr="http://www.wallpaperbetter.com/wallpaper/637/591/681/oriente-station-lisbon-portugal-1080P-wallpaper.jpg"/>
          <p:cNvSpPr>
            <a:spLocks noChangeAspect="1" noChangeArrowheads="1"/>
          </p:cNvSpPr>
          <p:nvPr userDrawn="1"/>
        </p:nvSpPr>
        <p:spPr bwMode="auto">
          <a:xfrm>
            <a:off x="6096001" y="3429000"/>
            <a:ext cx="298808" cy="298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pt-PT" sz="1765"/>
          </a:p>
        </p:txBody>
      </p:sp>
    </p:spTree>
    <p:extLst>
      <p:ext uri="{BB962C8B-B14F-4D97-AF65-F5344CB8AC3E}">
        <p14:creationId xmlns:p14="http://schemas.microsoft.com/office/powerpoint/2010/main" val="4181158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ltGray">
          <a:xfrm>
            <a:off x="269238" y="2084172"/>
            <a:ext cx="8964248" cy="358620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5833">
                      <a:schemeClr val="bg1"/>
                    </a:gs>
                    <a:gs pos="18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69303" y="3878574"/>
            <a:ext cx="8964186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757348" y="6196319"/>
            <a:ext cx="986066" cy="19126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448215" y="470068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2678776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t="8615" b="7772"/>
          <a:stretch/>
        </p:blipFill>
        <p:spPr>
          <a:xfrm>
            <a:off x="-45546" y="-30523"/>
            <a:ext cx="12410949" cy="6919045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gray">
          <a:xfrm>
            <a:off x="123116" y="1381527"/>
            <a:ext cx="8655398" cy="4447957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23116" y="1380676"/>
            <a:ext cx="7667103" cy="1795660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/>
          </p:nvPr>
        </p:nvSpPr>
        <p:spPr bwMode="ltGray">
          <a:xfrm>
            <a:off x="123116" y="3175490"/>
            <a:ext cx="7667103" cy="179084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17" y="5796424"/>
            <a:ext cx="2262982" cy="950893"/>
          </a:xfrm>
          <a:prstGeom prst="rect">
            <a:avLst/>
          </a:prstGeom>
        </p:spPr>
      </p:pic>
      <p:sp>
        <p:nvSpPr>
          <p:cNvPr id="11" name="AutoShape 2" descr="https://www.carcavelossurfschool.com/wp-content/uploads/2016/05/Sunrise-Torre-Belem-Lisbon-Portugal-2-2.jpg"/>
          <p:cNvSpPr>
            <a:spLocks noChangeAspect="1" noChangeArrowheads="1"/>
          </p:cNvSpPr>
          <p:nvPr userDrawn="1"/>
        </p:nvSpPr>
        <p:spPr bwMode="auto">
          <a:xfrm>
            <a:off x="5946596" y="3279575"/>
            <a:ext cx="298808" cy="298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pt-PT" sz="1765"/>
          </a:p>
        </p:txBody>
      </p:sp>
      <p:sp>
        <p:nvSpPr>
          <p:cNvPr id="12" name="AutoShape 8" descr="http://www.wallpaperbetter.com/wallpaper/637/591/681/oriente-station-lisbon-portugal-1080P-wallpaper.jpg"/>
          <p:cNvSpPr>
            <a:spLocks noChangeAspect="1" noChangeArrowheads="1"/>
          </p:cNvSpPr>
          <p:nvPr userDrawn="1"/>
        </p:nvSpPr>
        <p:spPr bwMode="auto">
          <a:xfrm>
            <a:off x="6096001" y="3429000"/>
            <a:ext cx="298808" cy="298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pt-PT" sz="1765"/>
          </a:p>
        </p:txBody>
      </p:sp>
    </p:spTree>
    <p:extLst>
      <p:ext uri="{BB962C8B-B14F-4D97-AF65-F5344CB8AC3E}">
        <p14:creationId xmlns:p14="http://schemas.microsoft.com/office/powerpoint/2010/main" val="992263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757347" y="6196318"/>
            <a:ext cx="986067" cy="19126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448213" y="470067"/>
            <a:ext cx="2599604" cy="537925"/>
          </a:xfrm>
          <a:prstGeom prst="rect">
            <a:avLst/>
          </a:prstGeom>
          <a:noFill/>
          <a:ln w="25400" cap="sq">
            <a:solidFill>
              <a:srgbClr val="FFFFFF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5" dirty="0">
                <a:gradFill>
                  <a:gsLst>
                    <a:gs pos="5833">
                      <a:srgbClr val="FFFFFF"/>
                    </a:gs>
                    <a:gs pos="15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4121613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13198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0516276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9537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99738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3323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8964247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5294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48212" y="6561764"/>
            <a:ext cx="3859607" cy="134483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367166" y="6561764"/>
            <a:ext cx="555596" cy="134483"/>
          </a:xfrm>
          <a:prstGeom prst="rect">
            <a:avLst/>
          </a:prstGeom>
        </p:spPr>
        <p:txBody>
          <a:bodyPr/>
          <a:lstStyle/>
          <a:p>
            <a:fld id="{27258FFF-F925-446B-8502-81C93398170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40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3"/>
            <a:ext cx="627341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757348" y="6196319"/>
            <a:ext cx="986066" cy="19126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448215" y="470068"/>
            <a:ext cx="2599604" cy="537925"/>
          </a:xfrm>
          <a:prstGeom prst="rect">
            <a:avLst/>
          </a:prstGeom>
          <a:noFill/>
          <a:ln w="25400" cap="sq">
            <a:solidFill>
              <a:srgbClr val="FFFFFF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833">
                      <a:srgbClr val="FFFFFF"/>
                    </a:gs>
                    <a:gs pos="15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37303742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8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1"/>
            <a:ext cx="12192000" cy="6857999"/>
          </a:xfrm>
          <a:prstGeom prst="rect">
            <a:avLst/>
          </a:prstGeom>
        </p:spPr>
        <p:txBody>
          <a:bodyPr vert="horz" lIns="252000" tIns="252000" rIns="252000" bIns="252000" rtlCol="0" anchor="ctr">
            <a:noAutofit/>
          </a:bodyPr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701040"/>
          </a:xfrm>
          <a:prstGeom prst="rect">
            <a:avLst/>
          </a:prstGeom>
        </p:spPr>
        <p:txBody>
          <a:bodyPr vert="horz" lIns="252000" tIns="90000" rIns="252000" bIns="90000" rtlCol="0" anchor="t">
            <a:noAutofit/>
          </a:bodyPr>
          <a:lstStyle/>
          <a:p>
            <a:r>
              <a:rPr lang="en-US" dirty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229713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67" r:id="rId6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28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192" rtl="0" eaLnBrk="1" fontAlgn="auto" latinLnBrk="0" hangingPunct="1">
        <a:lnSpc>
          <a:spcPct val="100000"/>
        </a:lnSpc>
        <a:spcBef>
          <a:spcPts val="0"/>
        </a:spcBef>
        <a:spcAft>
          <a:spcPts val="2400"/>
        </a:spcAft>
        <a:buClrTx/>
        <a:buSzPct val="90000"/>
        <a:buFont typeface="Arial" pitchFamily="34" charset="0"/>
        <a:buNone/>
        <a:tabLst/>
        <a:defRPr sz="40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2" cy="211733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96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690" r:id="rId22"/>
    <p:sldLayoutId id="2147483691" r:id="rId23"/>
    <p:sldLayoutId id="2147483692" r:id="rId24"/>
    <p:sldLayoutId id="2147483693" r:id="rId25"/>
    <p:sldLayoutId id="2147483694" r:id="rId26"/>
    <p:sldLayoutId id="2147483695" r:id="rId27"/>
    <p:sldLayoutId id="2147483696" r:id="rId28"/>
    <p:sldLayoutId id="2147483697" r:id="rId29"/>
    <p:sldLayoutId id="2147483698" r:id="rId30"/>
    <p:sldLayoutId id="2147483699" r:id="rId31"/>
    <p:sldLayoutId id="2147483700" r:id="rId32"/>
    <p:sldLayoutId id="2147483701" r:id="rId33"/>
    <p:sldLayoutId id="2147483702" r:id="rId34"/>
    <p:sldLayoutId id="2147483703" r:id="rId35"/>
  </p:sldLayoutIdLst>
  <p:transition>
    <p:fade/>
  </p:transition>
  <p:txStyles>
    <p:titleStyle>
      <a:lvl1pPr algn="l" defTabSz="914213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9" marR="0" indent="-336089" algn="l" defTabSz="9142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95" marR="0" indent="-236507" algn="l" defTabSz="9142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208" marR="0" indent="-224059" algn="l" defTabSz="9142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66" marR="0" indent="-224059" algn="l" defTabSz="9142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324" marR="0" indent="-224059" algn="l" defTabSz="9142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88" indent="-228554" algn="l" defTabSz="9142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95" indent="-228554" algn="l" defTabSz="9142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303" indent="-228554" algn="l" defTabSz="9142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410" indent="-228554" algn="l" defTabSz="9142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6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2pPr>
      <a:lvl3pPr marL="914213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1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4pPr>
      <a:lvl5pPr marL="1828428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5pPr>
      <a:lvl6pPr marL="2285536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6pPr>
      <a:lvl7pPr marL="2742642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7pPr>
      <a:lvl8pPr marL="3199748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8pPr>
      <a:lvl9pPr marL="3656856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54C0BD7-FE69-4DF5-A26F-225D7E2CCC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94223E-29F4-4117-855C-675785112F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CB62DC-AF7C-4A3B-8B34-E88E3477DD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711D52-52D9-40D7-AA9A-895B1C1FAF4B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6A340-C330-44BB-ABE9-07B54AF3C2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05DB91-429B-4556-BCB6-7BDC0C5031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4855E5-808E-4644-82C6-521FE1F825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833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Poppins" panose="00000500000000000000" pitchFamily="50" charset="0"/>
          <a:ea typeface="+mj-ea"/>
          <a:cs typeface="Poppins" panose="00000500000000000000" pitchFamily="50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Poppins" panose="00000500000000000000" pitchFamily="50" charset="0"/>
          <a:ea typeface="+mn-ea"/>
          <a:cs typeface="Poppins" panose="00000500000000000000" pitchFamily="50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oppins" panose="00000500000000000000" pitchFamily="50" charset="0"/>
          <a:ea typeface="+mn-ea"/>
          <a:cs typeface="Poppins" panose="00000500000000000000" pitchFamily="50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oppins" panose="00000500000000000000" pitchFamily="50" charset="0"/>
          <a:ea typeface="+mn-ea"/>
          <a:cs typeface="Poppins" panose="00000500000000000000" pitchFamily="50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" panose="00000500000000000000" pitchFamily="50" charset="0"/>
          <a:ea typeface="+mn-ea"/>
          <a:cs typeface="Poppins" panose="00000500000000000000" pitchFamily="50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" panose="00000500000000000000" pitchFamily="50" charset="0"/>
          <a:ea typeface="+mn-ea"/>
          <a:cs typeface="Poppins" panose="00000500000000000000" pitchFamily="50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842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2" r:id="rId31"/>
    <p:sldLayoutId id="2147483743" r:id="rId32"/>
    <p:sldLayoutId id="2147483744" r:id="rId33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718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image" Target="../media/image32.emf"/><Relationship Id="rId7" Type="http://schemas.openxmlformats.org/officeDocument/2006/relationships/image" Target="../media/image36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35.emf"/><Relationship Id="rId5" Type="http://schemas.openxmlformats.org/officeDocument/2006/relationships/image" Target="../media/image34.emf"/><Relationship Id="rId4" Type="http://schemas.openxmlformats.org/officeDocument/2006/relationships/image" Target="../media/image33.emf"/><Relationship Id="rId9" Type="http://schemas.openxmlformats.org/officeDocument/2006/relationships/image" Target="../media/image38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38.emf"/><Relationship Id="rId4" Type="http://schemas.openxmlformats.org/officeDocument/2006/relationships/image" Target="../media/image40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6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7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5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6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9.jp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://www.biztalk360.com/biztalk-mapping-patterns/" TargetMode="External"/><Relationship Id="rId5" Type="http://schemas.openxmlformats.org/officeDocument/2006/relationships/hyperlink" Target="https://blog.sandro-pereira.com/" TargetMode="External"/><Relationship Id="rId4" Type="http://schemas.openxmlformats.org/officeDocument/2006/relationships/hyperlink" Target="mailto:sandro.pereira@devscope.net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55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6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6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6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6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6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6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6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emf"/><Relationship Id="rId1" Type="http://schemas.openxmlformats.org/officeDocument/2006/relationships/slideLayout" Target="../slideLayouts/slideLayout6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6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7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6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hyperlink" Target="https://www.integration-playbook.io/docs/find-orphaned-api-connectors" TargetMode="External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79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6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6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83.jpe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86.jpe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nytimes.com/2020/01/15/magazine/why-did-the-womans-finger-turn-numb-and-blue.html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ridge over a body of water&#10;&#10;Description automatically generated">
            <a:extLst>
              <a:ext uri="{FF2B5EF4-FFF2-40B4-BE49-F238E27FC236}">
                <a16:creationId xmlns:a16="http://schemas.microsoft.com/office/drawing/2014/main" id="{86E17E1F-5AEF-4E10-9B14-E69D45C039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>
          <a:xfrm>
            <a:off x="-1" y="-67588"/>
            <a:ext cx="12191999" cy="6858001"/>
          </a:xfrm>
          <a:prstGeom prst="rect">
            <a:avLst/>
          </a:prstGeom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E406F52-670A-46FD-8017-C0CC8277C14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59" y="378618"/>
            <a:ext cx="2297983" cy="177165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6CC497E-9616-4DA2-AE9E-30580724F54E}"/>
              </a:ext>
            </a:extLst>
          </p:cNvPr>
          <p:cNvSpPr txBox="1"/>
          <p:nvPr/>
        </p:nvSpPr>
        <p:spPr>
          <a:xfrm>
            <a:off x="2584174" y="745839"/>
            <a:ext cx="5446644" cy="103720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PT" sz="28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irtual Global Azure Lisbon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PT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aturday – 25 April</a:t>
            </a:r>
            <a:endParaRPr lang="en-US" sz="20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AF2C68F-0BC5-4AF1-A28F-D4A863B6C956}"/>
              </a:ext>
            </a:extLst>
          </p:cNvPr>
          <p:cNvSpPr/>
          <p:nvPr/>
        </p:nvSpPr>
        <p:spPr bwMode="auto">
          <a:xfrm>
            <a:off x="0" y="5482424"/>
            <a:ext cx="12191998" cy="137557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pt-PT" sz="3200" noProof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Logic</a:t>
            </a:r>
            <a:r>
              <a:rPr lang="pt-PT" sz="32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Apps: </a:t>
            </a:r>
            <a:r>
              <a:rPr lang="en-US" sz="32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Best practices, Tips, and Tricks</a:t>
            </a:r>
            <a:endParaRPr lang="pt-PT" sz="3200" dirty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Sandro Pereira | Head of Integration @DevScope, Azure MVP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F99A732-545D-4346-A02E-0A041B7FC7FB}"/>
              </a:ext>
            </a:extLst>
          </p:cNvPr>
          <p:cNvSpPr/>
          <p:nvPr/>
        </p:nvSpPr>
        <p:spPr>
          <a:xfrm>
            <a:off x="10347999" y="4867757"/>
            <a:ext cx="1229333" cy="1229333"/>
          </a:xfrm>
          <a:prstGeom prst="ellipse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6926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BF4F1B2-744F-4FE7-A65D-78801235AC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89429"/>
            <a:ext cx="12043791" cy="62028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BCE4C3E-4CD2-4905-8C49-EA06559381A5}"/>
              </a:ext>
            </a:extLst>
          </p:cNvPr>
          <p:cNvSpPr txBox="1"/>
          <p:nvPr/>
        </p:nvSpPr>
        <p:spPr>
          <a:xfrm>
            <a:off x="182880" y="1205036"/>
            <a:ext cx="3810187" cy="228985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Use descriptive nam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mproves readability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Transfer knowledg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You can’t rename actions that have dependencies… directly</a:t>
            </a:r>
            <a:endParaRPr kumimoji="0" lang="en-US" sz="20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50CC4DA-4864-4F66-A7E7-E7E0178D3C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6658" y="1169570"/>
            <a:ext cx="368081" cy="368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AC8CF0-6B61-4C97-82A5-E5CD112198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56658" y="1728156"/>
            <a:ext cx="368081" cy="3685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3992E97-5844-43D0-823A-97EA31C4D2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56658" y="2263882"/>
            <a:ext cx="368081" cy="368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08780C-AC0A-4DA8-BE14-552B582901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3957" y="4194710"/>
            <a:ext cx="368081" cy="3685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D035F80-455E-4E20-9703-110A2C89EB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03957" y="4765425"/>
            <a:ext cx="368081" cy="368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654ACB2-A82B-47A6-9D78-C30B8B61EC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0978" y="4194710"/>
            <a:ext cx="368081" cy="3685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0888A18-401A-4541-A04B-795E2D9A02F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48138" y="3714749"/>
            <a:ext cx="370794" cy="3370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1BA9174-CAF7-4194-B625-46518D1AF8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29663" y="3727983"/>
            <a:ext cx="370794" cy="337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182687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3373970-CB98-47EB-87FA-31A46A1D14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41" r="1563"/>
          <a:stretch/>
        </p:blipFill>
        <p:spPr>
          <a:xfrm>
            <a:off x="200024" y="791848"/>
            <a:ext cx="11801475" cy="52743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1554A34-8E63-4861-9C25-1070D8A831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1833" y="960020"/>
            <a:ext cx="368081" cy="368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509F577-A886-4B41-844F-91BBE298BD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51414" y="1496692"/>
            <a:ext cx="368500" cy="368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E4C55D-1767-4264-BD50-2F52E82248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51414" y="2006279"/>
            <a:ext cx="368500" cy="368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80ABBB0-A260-428C-BF1A-4797D33B84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3376" y="2523011"/>
            <a:ext cx="368500" cy="3685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9763F7B-8F07-48F3-B03B-C560C6767A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714" y="4373242"/>
            <a:ext cx="368500" cy="368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5E21F6B-3F9B-4B52-A6E1-91EA4EC5AB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714" y="5219697"/>
            <a:ext cx="368500" cy="3685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1A45BC6-3437-4C2F-B831-AB1CDBAF3D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714" y="5752379"/>
            <a:ext cx="368500" cy="368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FA6C34B-7EE1-48BD-8E4F-0ADC8A71A3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8114" y="4373242"/>
            <a:ext cx="368500" cy="3685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BF3ADDF-E670-4F19-BBBF-DF015644E2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8114" y="4908347"/>
            <a:ext cx="368500" cy="3685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F38781D-0670-47CB-ACF2-F4919AF51D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8114" y="5424402"/>
            <a:ext cx="368500" cy="3685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E0EFDF5-81BB-43BD-8705-ACE47D2CE7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48375" y="3926702"/>
            <a:ext cx="370794" cy="33708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1DED242-0224-4C68-99A8-EE253DE8DF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29900" y="3939936"/>
            <a:ext cx="370794" cy="337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894510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wire, table, bird, hanging&#10;&#10;Description automatically generated">
            <a:extLst>
              <a:ext uri="{FF2B5EF4-FFF2-40B4-BE49-F238E27FC236}">
                <a16:creationId xmlns:a16="http://schemas.microsoft.com/office/drawing/2014/main" id="{717DC4E6-DDA3-4C9A-B8C2-E9A4AAC226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90" b="1249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5BCDB9-0CB4-4392-B23C-F9A93B507A9B}"/>
              </a:ext>
            </a:extLst>
          </p:cNvPr>
          <p:cNvSpPr/>
          <p:nvPr/>
        </p:nvSpPr>
        <p:spPr bwMode="auto">
          <a:xfrm>
            <a:off x="0" y="2226858"/>
            <a:ext cx="10401300" cy="2180042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D3A60EE-AFD5-4B34-8EE7-AB165748CE73}"/>
              </a:ext>
            </a:extLst>
          </p:cNvPr>
          <p:cNvSpPr txBox="1">
            <a:spLocks/>
          </p:cNvSpPr>
          <p:nvPr/>
        </p:nvSpPr>
        <p:spPr>
          <a:xfrm>
            <a:off x="269239" y="2377870"/>
            <a:ext cx="9852662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how to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rename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ctions </a:t>
            </a:r>
            <a:r>
              <a:rPr lang="en-US" sz="6000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with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</a:t>
            </a:r>
            <a:r>
              <a:rPr lang="en-US" sz="6000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dependencies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? It is possible?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2A3C84-E802-4060-A260-BEF8B49D1FAB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47180A-C4B1-4814-85F0-531C4DB7B11E}"/>
              </a:ext>
            </a:extLst>
          </p:cNvPr>
          <p:cNvSpPr txBox="1"/>
          <p:nvPr/>
        </p:nvSpPr>
        <p:spPr>
          <a:xfrm>
            <a:off x="659617" y="1547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3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C2C748-EEEA-4145-87C1-B87F1D3D01F6}"/>
              </a:ext>
            </a:extLst>
          </p:cNvPr>
          <p:cNvSpPr/>
          <p:nvPr/>
        </p:nvSpPr>
        <p:spPr>
          <a:xfrm rot="20242148">
            <a:off x="8277242" y="5203994"/>
            <a:ext cx="2703048" cy="8402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en-US" b="1" spc="-102" dirty="0">
                <a:ln w="3175">
                  <a:noFill/>
                </a:ln>
                <a:solidFill>
                  <a:srgbClr val="04326C"/>
                </a:solidFill>
                <a:latin typeface="Segoe UI Light"/>
                <a:cs typeface="Segoe UI" pitchFamily="34" charset="0"/>
              </a:rPr>
              <a:t>You can’t rename actions that 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b="1" spc="-102" dirty="0">
                <a:ln w="3175">
                  <a:noFill/>
                </a:ln>
                <a:solidFill>
                  <a:srgbClr val="04326C"/>
                </a:solidFill>
                <a:latin typeface="Segoe UI Light"/>
                <a:cs typeface="Segoe UI" pitchFamily="34" charset="0"/>
              </a:rPr>
              <a:t>have dependencies… 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b="1" spc="-102" dirty="0">
                <a:ln w="3175">
                  <a:noFill/>
                </a:ln>
                <a:solidFill>
                  <a:srgbClr val="04326C"/>
                </a:solidFill>
                <a:latin typeface="Segoe UI Light"/>
                <a:cs typeface="Segoe UI" pitchFamily="34" charset="0"/>
              </a:rPr>
              <a:t>directly</a:t>
            </a:r>
            <a:endParaRPr lang="en-US" sz="2000" b="1" spc="-102" dirty="0">
              <a:ln w="3175">
                <a:noFill/>
              </a:ln>
              <a:solidFill>
                <a:srgbClr val="04326C"/>
              </a:solidFill>
              <a:latin typeface="Segoe UI Ligh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192013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E1C1007-4193-468B-9E98-E461281F9B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50" y="138352"/>
            <a:ext cx="7800000" cy="383809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6399B07-2682-40E0-8D1F-EA81E26DF6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3542"/>
            <a:ext cx="12192000" cy="48309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9C338B1-97AA-4A50-86FB-4305CD2137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8164" y="3919648"/>
            <a:ext cx="6114286" cy="2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077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>
            <a:extLst>
              <a:ext uri="{FF2B5EF4-FFF2-40B4-BE49-F238E27FC236}">
                <a16:creationId xmlns:a16="http://schemas.microsoft.com/office/drawing/2014/main" id="{FCBAFAAF-4DB3-48D3-B310-06934D3695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950" y="514350"/>
            <a:ext cx="5829300" cy="582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7BF0DD0-AEB6-4DE5-BAC6-6E097D4A1E32}"/>
              </a:ext>
            </a:extLst>
          </p:cNvPr>
          <p:cNvSpPr txBox="1">
            <a:spLocks/>
          </p:cNvSpPr>
          <p:nvPr/>
        </p:nvSpPr>
        <p:spPr>
          <a:xfrm>
            <a:off x="269238" y="2303165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dd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comments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412B3A-B416-47FC-B214-56DA72399DD2}"/>
              </a:ext>
            </a:extLst>
          </p:cNvPr>
          <p:cNvSpPr/>
          <p:nvPr/>
        </p:nvSpPr>
        <p:spPr>
          <a:xfrm>
            <a:off x="723900" y="4885035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veryone can read the com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ave yourself and teammats from future frustr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very expression should have a comment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FE5DD0B-B372-4DE4-87C1-36DE9BA0C596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73CFFD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FA51AE-8423-4213-983F-56593076AC25}"/>
              </a:ext>
            </a:extLst>
          </p:cNvPr>
          <p:cNvSpPr txBox="1"/>
          <p:nvPr/>
        </p:nvSpPr>
        <p:spPr>
          <a:xfrm>
            <a:off x="596117" y="1674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4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872268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4887359-8F3E-480D-B74C-5D607B1C0A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325" y="393689"/>
            <a:ext cx="5752381" cy="401904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3B59A7E-2696-4F2F-9F9D-957D8BC30E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7429" y="3653279"/>
            <a:ext cx="5742857" cy="263809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9E53A12-5A9C-4441-9045-E0F304A654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671624"/>
            <a:ext cx="5714286" cy="22095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2CE0B68-0FB5-40BB-A90F-0BD7F4ED0D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747" y="2428375"/>
            <a:ext cx="6912705" cy="421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4885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13B0B4D-5D2A-4F72-9B50-078C4D1DCD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114" r="6547"/>
          <a:stretch/>
        </p:blipFill>
        <p:spPr>
          <a:xfrm>
            <a:off x="0" y="970728"/>
            <a:ext cx="7470648" cy="5887272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640B11CD-E4D7-472C-83E7-3B34AB399001}"/>
              </a:ext>
            </a:extLst>
          </p:cNvPr>
          <p:cNvSpPr txBox="1">
            <a:spLocks/>
          </p:cNvSpPr>
          <p:nvPr/>
        </p:nvSpPr>
        <p:spPr>
          <a:xfrm>
            <a:off x="7169847" y="3166060"/>
            <a:ext cx="4790559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using </a:t>
            </a: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scopes</a:t>
            </a: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1B87D00-0AA4-433B-9360-B1146DBC7A91}"/>
              </a:ext>
            </a:extLst>
          </p:cNvPr>
          <p:cNvSpPr txBox="1"/>
          <p:nvPr/>
        </p:nvSpPr>
        <p:spPr>
          <a:xfrm>
            <a:off x="4353372" y="593920"/>
            <a:ext cx="6965575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Managing individual actions introduces complexity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copes group actions together (regions)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Manage actions as a single unit instead of disparate items</a:t>
            </a:r>
            <a:endParaRPr kumimoji="0" lang="en-US" sz="2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25E87F2-EC58-44AA-B1A1-A272190D4AF8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42237D8-6E01-4232-8F99-36A50B4FEE9A}"/>
              </a:ext>
            </a:extLst>
          </p:cNvPr>
          <p:cNvSpPr txBox="1"/>
          <p:nvPr/>
        </p:nvSpPr>
        <p:spPr>
          <a:xfrm>
            <a:off x="659617" y="1674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0" b="1" dirty="0">
                <a:solidFill>
                  <a:srgbClr val="FFFFFF"/>
                </a:solidFill>
                <a:latin typeface="Fabrica" pitchFamily="50" charset="0"/>
              </a:rPr>
              <a:t>5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020178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6444235-9B59-4C0B-A7C2-43576B7CA2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2119312"/>
            <a:ext cx="7239000" cy="26193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ADA856D-E87B-4C7B-9C57-D031DB3917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400" y="1487487"/>
            <a:ext cx="4038600" cy="50482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321D0C0-226F-4911-8FEC-28FA398A4723}"/>
              </a:ext>
            </a:extLst>
          </p:cNvPr>
          <p:cNvSpPr txBox="1">
            <a:spLocks/>
          </p:cNvSpPr>
          <p:nvPr/>
        </p:nvSpPr>
        <p:spPr>
          <a:xfrm>
            <a:off x="406400" y="194260"/>
            <a:ext cx="732790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cope… is a </a:t>
            </a: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region</a:t>
            </a:r>
            <a:endParaRPr kumimoji="0" lang="en-US" sz="5400" b="0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015974-87FB-4A56-8D28-295668E607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4401" y="1087688"/>
            <a:ext cx="9690100" cy="5628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6301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72B9A75-4E94-4950-9D22-46D90915E2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412" y="1327150"/>
            <a:ext cx="6962775" cy="5067300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E9DB5640-55B2-46A7-8478-E4A66883AA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514" y="1149714"/>
            <a:ext cx="5259135" cy="5708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1D9AB3F-536C-4E6E-9348-8CA2DA299216}"/>
              </a:ext>
            </a:extLst>
          </p:cNvPr>
          <p:cNvSpPr txBox="1">
            <a:spLocks/>
          </p:cNvSpPr>
          <p:nvPr/>
        </p:nvSpPr>
        <p:spPr>
          <a:xfrm>
            <a:off x="406400" y="194260"/>
            <a:ext cx="911860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defRPr/>
            </a:pP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cope… is a </a:t>
            </a:r>
            <a:r>
              <a:rPr lang="pt-PT" dirty="0" err="1">
                <a:solidFill>
                  <a:srgbClr val="50505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try-catch-finally</a:t>
            </a:r>
            <a:endParaRPr kumimoji="0" lang="en-US" sz="5400" b="0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8699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5F5A444E-5FE6-4EE6-B0E7-BB6F26CFEB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428625"/>
            <a:ext cx="11430000" cy="600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10B112A-E5FD-4B87-8E35-2C6DAFFB781C}"/>
              </a:ext>
            </a:extLst>
          </p:cNvPr>
          <p:cNvSpPr/>
          <p:nvPr/>
        </p:nvSpPr>
        <p:spPr bwMode="auto">
          <a:xfrm>
            <a:off x="1801906" y="5792945"/>
            <a:ext cx="10150318" cy="95545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A9F6586-49D5-4CB8-8DD1-9BDB9B316748}"/>
              </a:ext>
            </a:extLst>
          </p:cNvPr>
          <p:cNvSpPr txBox="1">
            <a:spLocks/>
          </p:cNvSpPr>
          <p:nvPr/>
        </p:nvSpPr>
        <p:spPr>
          <a:xfrm>
            <a:off x="1928488" y="5792945"/>
            <a:ext cx="501916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error </a:t>
            </a:r>
            <a:r>
              <a:rPr kumimoji="0" lang="en-US" sz="4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handling…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EFF968F-38AB-4CB9-9B80-D7443C9CE839}"/>
              </a:ext>
            </a:extLst>
          </p:cNvPr>
          <p:cNvSpPr txBox="1">
            <a:spLocks/>
          </p:cNvSpPr>
          <p:nvPr/>
        </p:nvSpPr>
        <p:spPr>
          <a:xfrm>
            <a:off x="5737412" y="5801910"/>
            <a:ext cx="6341393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figure run after setting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688160C-12FB-493D-B924-0A81694724BB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31E189-84F7-4EDC-B2A7-A9FA51FFBFE6}"/>
              </a:ext>
            </a:extLst>
          </p:cNvPr>
          <p:cNvSpPr txBox="1"/>
          <p:nvPr/>
        </p:nvSpPr>
        <p:spPr>
          <a:xfrm>
            <a:off x="634217" y="1674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6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763927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0461" y="487"/>
            <a:ext cx="5761539" cy="576153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320" y="6009957"/>
            <a:ext cx="12185365" cy="846178"/>
          </a:xfrm>
          <a:prstGeom prst="rect">
            <a:avLst/>
          </a:prstGeom>
          <a:solidFill>
            <a:srgbClr val="01A1DD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35"/>
            <a:endParaRPr lang="en-AU" sz="2398">
              <a:solidFill>
                <a:srgbClr val="01A1DD"/>
              </a:solidFill>
              <a:latin typeface="Segoe UI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318" y="5806866"/>
            <a:ext cx="12185367" cy="863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35"/>
            <a:endParaRPr lang="en-AU" sz="2398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394037" y="5636049"/>
            <a:ext cx="10357562" cy="1214237"/>
          </a:xfrm>
          <a:prstGeom prst="rect">
            <a:avLst/>
          </a:prstGeom>
        </p:spPr>
        <p:txBody>
          <a:bodyPr vert="horz" lIns="121854" tIns="60926" rIns="121854" bIns="60926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914072"/>
            <a:r>
              <a:rPr lang="en-AU" sz="2130" spc="-40" dirty="0">
                <a:solidFill>
                  <a:srgbClr val="01A1DD"/>
                </a:solidFill>
                <a:latin typeface="Questrial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ndro Pereira</a:t>
            </a:r>
            <a:endParaRPr lang="en-AU" sz="2130" spc="-40" dirty="0">
              <a:solidFill>
                <a:srgbClr val="01A1DD"/>
              </a:solidFill>
              <a:latin typeface="Questrial" panose="02000000000000000000" pitchFamily="2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596521" y="45304"/>
            <a:ext cx="10357562" cy="1616148"/>
          </a:xfrm>
          <a:prstGeom prst="rect">
            <a:avLst/>
          </a:prstGeom>
        </p:spPr>
        <p:txBody>
          <a:bodyPr vert="horz" lIns="121854" tIns="60926" rIns="121854" bIns="60926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4072"/>
            <a:r>
              <a:rPr lang="en-AU" sz="4798" spc="-40" dirty="0">
                <a:solidFill>
                  <a:srgbClr val="01A1DD"/>
                </a:solidFill>
                <a:latin typeface="Segoe UI Light" panose="020B0502040204020203" pitchFamily="34" charset="0"/>
                <a:ea typeface="Open Sans Light" panose="020B0306030504020204" pitchFamily="34" charset="0"/>
                <a:cs typeface="Segoe UI Light" panose="020B0502040204020203" pitchFamily="34" charset="0"/>
              </a:rPr>
              <a:t>Who am I?</a:t>
            </a:r>
          </a:p>
        </p:txBody>
      </p:sp>
      <p:sp>
        <p:nvSpPr>
          <p:cNvPr id="14" name="Subtitle 2"/>
          <p:cNvSpPr txBox="1">
            <a:spLocks/>
          </p:cNvSpPr>
          <p:nvPr/>
        </p:nvSpPr>
        <p:spPr>
          <a:xfrm>
            <a:off x="596520" y="1319571"/>
            <a:ext cx="6353270" cy="1973174"/>
          </a:xfrm>
          <a:prstGeom prst="rect">
            <a:avLst/>
          </a:prstGeom>
        </p:spPr>
        <p:txBody>
          <a:bodyPr vert="horz" lIns="121854" tIns="60926" rIns="121854" bIns="60926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778" indent="-342778" defTabSz="914072"/>
            <a:r>
              <a:rPr lang="en-AU" sz="2398" b="1" dirty="0">
                <a:solidFill>
                  <a:prstClr val="black"/>
                </a:solidFill>
              </a:rPr>
              <a:t>Head of Integration @DevScope</a:t>
            </a:r>
            <a:endParaRPr lang="en-AU" sz="2398" b="1" dirty="0">
              <a:solidFill>
                <a:prstClr val="black"/>
              </a:solidFill>
              <a:latin typeface="Segoe UI"/>
            </a:endParaRPr>
          </a:p>
          <a:p>
            <a:pPr marL="342778" indent="-342778" defTabSz="914072"/>
            <a:r>
              <a:rPr lang="en-AU" sz="2398" dirty="0">
                <a:solidFill>
                  <a:prstClr val="black"/>
                </a:solidFill>
                <a:latin typeface="Segoe UI"/>
              </a:rPr>
              <a:t>Microsoft Azure MVP</a:t>
            </a:r>
          </a:p>
          <a:p>
            <a:pPr marL="342778" indent="-342778" defTabSz="914072"/>
            <a:r>
              <a:rPr lang="en-US" sz="2398" dirty="0">
                <a:solidFill>
                  <a:prstClr val="black"/>
                </a:solidFill>
                <a:latin typeface="Segoe UI"/>
                <a:hlinkClick r:id="rId4"/>
              </a:rPr>
              <a:t>sandro.pereira@devscope.net</a:t>
            </a:r>
            <a:r>
              <a:rPr lang="en-US" sz="2398" dirty="0">
                <a:solidFill>
                  <a:prstClr val="black"/>
                </a:solidFill>
                <a:latin typeface="Segoe UI"/>
              </a:rPr>
              <a:t> </a:t>
            </a:r>
          </a:p>
          <a:p>
            <a:pPr marL="342778" indent="-342778" defTabSz="914072"/>
            <a:r>
              <a:rPr lang="en-US" sz="2398" noProof="1">
                <a:solidFill>
                  <a:prstClr val="black"/>
                </a:solidFill>
                <a:latin typeface="Segoe UI"/>
              </a:rPr>
              <a:t>linkedin.com/in/sandropereira</a:t>
            </a:r>
          </a:p>
          <a:p>
            <a:pPr marL="342778" indent="-342778" defTabSz="914072"/>
            <a:r>
              <a:rPr lang="en-US" sz="2398" noProof="1">
                <a:solidFill>
                  <a:prstClr val="black"/>
                </a:solidFill>
                <a:latin typeface="Segoe UI"/>
              </a:rPr>
              <a:t>@sandro_asp </a:t>
            </a:r>
          </a:p>
          <a:p>
            <a:pPr marL="342778" indent="-342778" defTabSz="914072"/>
            <a:r>
              <a:rPr lang="en-US" sz="2398" dirty="0">
                <a:solidFill>
                  <a:prstClr val="black"/>
                </a:solidFill>
                <a:latin typeface="Segoe UI"/>
                <a:hlinkClick r:id="rId5"/>
              </a:rPr>
              <a:t>https://blog.sandro-pereira.com/</a:t>
            </a:r>
            <a:endParaRPr lang="en-US" sz="2398" dirty="0">
              <a:solidFill>
                <a:prstClr val="black"/>
              </a:solidFill>
              <a:latin typeface="Segoe UI"/>
            </a:endParaRPr>
          </a:p>
          <a:p>
            <a:pPr marL="342778" indent="-342778" defTabSz="914072"/>
            <a:r>
              <a:rPr lang="en-US" sz="2398" dirty="0">
                <a:solidFill>
                  <a:prstClr val="black"/>
                </a:solidFill>
                <a:latin typeface="Segoe UI"/>
              </a:rPr>
              <a:t>Public speaker</a:t>
            </a:r>
          </a:p>
          <a:p>
            <a:pPr marL="342778" indent="-342778" defTabSz="914072"/>
            <a:r>
              <a:rPr lang="en-US" sz="2398" dirty="0">
                <a:solidFill>
                  <a:prstClr val="black"/>
                </a:solidFill>
                <a:latin typeface="Segoe UI"/>
              </a:rPr>
              <a:t>Father </a:t>
            </a:r>
          </a:p>
          <a:p>
            <a:pPr marL="342778" indent="-342778" defTabSz="914072"/>
            <a:r>
              <a:rPr lang="en-US" sz="2398" dirty="0">
                <a:solidFill>
                  <a:prstClr val="black"/>
                </a:solidFill>
                <a:latin typeface="Segoe UI"/>
              </a:rPr>
              <a:t>Book author: “</a:t>
            </a:r>
            <a:r>
              <a:rPr lang="en-US" sz="2398" dirty="0">
                <a:solidFill>
                  <a:prstClr val="black"/>
                </a:solidFill>
                <a:latin typeface="Segoe UI"/>
                <a:hlinkClick r:id="rId6"/>
              </a:rPr>
              <a:t>BizTalk Mapping Patterns and Best Practices</a:t>
            </a:r>
            <a:r>
              <a:rPr lang="en-US" sz="2398" dirty="0">
                <a:solidFill>
                  <a:prstClr val="black"/>
                </a:solidFill>
                <a:latin typeface="Segoe UI"/>
              </a:rPr>
              <a:t>”</a:t>
            </a:r>
          </a:p>
          <a:p>
            <a:pPr marL="342778" indent="-342778" defTabSz="914072"/>
            <a:endParaRPr lang="en-US" sz="2398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10" name="Picture 2" descr="http://4.bp.blogspot.com/-OUfCsUCY3B4/VGgJCYMcsGI/AAAAAAAAIuQ/dyBpOE8ZilM/s230/mvp_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486" y="5318739"/>
            <a:ext cx="2189559" cy="100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300" y="5820362"/>
            <a:ext cx="2510975" cy="641476"/>
          </a:xfrm>
          <a:prstGeom prst="rect">
            <a:avLst/>
          </a:prstGeom>
        </p:spPr>
      </p:pic>
      <p:sp>
        <p:nvSpPr>
          <p:cNvPr id="11" name="Text Placeholder 30"/>
          <p:cNvSpPr txBox="1">
            <a:spLocks/>
          </p:cNvSpPr>
          <p:nvPr/>
        </p:nvSpPr>
        <p:spPr>
          <a:xfrm>
            <a:off x="3669816" y="5801014"/>
            <a:ext cx="2903003" cy="8216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indent="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  <a:lvl2pPr marL="584200" marR="0" indent="-2413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800100" marR="0" indent="-2286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1028700" marR="0" indent="-2286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1257300" marR="0" indent="-2286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  <a:lvl6pPr marL="2565040" indent="-233186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1412" indent="-233186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7783" indent="-233186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4155" indent="-233186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914213"/>
            <a:r>
              <a:rPr lang="pt-PT" sz="1961" b="1" dirty="0">
                <a:solidFill>
                  <a:sysClr val="windowText" lastClr="000000"/>
                </a:solidFill>
                <a:latin typeface="Segoe UI Light"/>
              </a:rPr>
              <a:t>+351 223 751 350</a:t>
            </a:r>
          </a:p>
          <a:p>
            <a:pPr defTabSz="914213"/>
            <a:r>
              <a:rPr lang="pt-PT" sz="1961" b="1" dirty="0">
                <a:solidFill>
                  <a:sysClr val="windowText" lastClr="000000"/>
                </a:solidFill>
                <a:latin typeface="Segoe UI Light"/>
              </a:rPr>
              <a:t>www.devscope.net</a:t>
            </a:r>
          </a:p>
        </p:txBody>
      </p:sp>
    </p:spTree>
    <p:extLst>
      <p:ext uri="{BB962C8B-B14F-4D97-AF65-F5344CB8AC3E}">
        <p14:creationId xmlns:p14="http://schemas.microsoft.com/office/powerpoint/2010/main" val="288041878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48814F0-0008-4A6D-BCD7-170065BBB4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01" y="114301"/>
            <a:ext cx="4648199" cy="2811320"/>
          </a:xfrm>
          <a:prstGeom prst="rect">
            <a:avLst/>
          </a:prstGeom>
        </p:spPr>
      </p:pic>
      <p:pic>
        <p:nvPicPr>
          <p:cNvPr id="7170" name="Picture 2">
            <a:extLst>
              <a:ext uri="{FF2B5EF4-FFF2-40B4-BE49-F238E27FC236}">
                <a16:creationId xmlns:a16="http://schemas.microsoft.com/office/drawing/2014/main" id="{CAE14BC3-EA21-4976-B19A-E616B6A029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3140075"/>
            <a:ext cx="4648199" cy="1662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F12D7286-98FF-4478-B052-5849C7B48F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0701" y="3135991"/>
            <a:ext cx="5181600" cy="1666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>
            <a:extLst>
              <a:ext uri="{FF2B5EF4-FFF2-40B4-BE49-F238E27FC236}">
                <a16:creationId xmlns:a16="http://schemas.microsoft.com/office/drawing/2014/main" id="{8F951B1A-EBDC-4AD3-8196-F1489FCE7A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01" y="4901042"/>
            <a:ext cx="4635499" cy="1622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>
            <a:extLst>
              <a:ext uri="{FF2B5EF4-FFF2-40B4-BE49-F238E27FC236}">
                <a16:creationId xmlns:a16="http://schemas.microsoft.com/office/drawing/2014/main" id="{18F444C5-32EB-498F-94FB-D9D0DC7E71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0701" y="4925922"/>
            <a:ext cx="5240099" cy="1666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71A8F9C3-6DD0-40AB-95E5-561CBAF2E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432" y="814900"/>
            <a:ext cx="5259135" cy="5708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77804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52E513-96C8-4240-B7F8-81C9C7559E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26" y="828675"/>
            <a:ext cx="5598422" cy="45180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283EF45-DF65-4E60-A62E-FC1AA6B99D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0686" y="0"/>
            <a:ext cx="64796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6750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640B11CD-E4D7-472C-83E7-3B34AB399001}"/>
              </a:ext>
            </a:extLst>
          </p:cNvPr>
          <p:cNvSpPr txBox="1">
            <a:spLocks/>
          </p:cNvSpPr>
          <p:nvPr/>
        </p:nvSpPr>
        <p:spPr>
          <a:xfrm>
            <a:off x="4191000" y="1451395"/>
            <a:ext cx="713740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earn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from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 failures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8256A6F-F282-4F50-9797-05C365C89361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35AC5C-BCE1-4021-81E9-9DCCD0F0B874}"/>
              </a:ext>
            </a:extLst>
          </p:cNvPr>
          <p:cNvSpPr txBox="1"/>
          <p:nvPr/>
        </p:nvSpPr>
        <p:spPr>
          <a:xfrm>
            <a:off x="672317" y="2055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7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0E110568-22A9-45BF-8B09-42E5E4F4FB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14750"/>
            <a:ext cx="923925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1299162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6B2A895-2B31-46FC-AE28-989B798B96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4087" y="2498724"/>
            <a:ext cx="7448687" cy="344487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98E5CAE-08C0-43BC-8924-0F14F861BA89}"/>
              </a:ext>
            </a:extLst>
          </p:cNvPr>
          <p:cNvSpPr txBox="1">
            <a:spLocks/>
          </p:cNvSpPr>
          <p:nvPr/>
        </p:nvSpPr>
        <p:spPr>
          <a:xfrm>
            <a:off x="330200" y="371895"/>
            <a:ext cx="1153160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dirty="0">
                <a:solidFill>
                  <a:srgbClr val="50505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C#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developer’s implement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 defensive </a:t>
            </a:r>
            <a:r>
              <a:rPr lang="en-US" sz="6000" dirty="0">
                <a:solidFill>
                  <a:srgbClr val="505050"/>
                </a:solidFill>
                <a:latin typeface="Segoe UI Light"/>
              </a:rPr>
              <a:t>code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89073427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B0BCF2E-582F-4CBB-AD9F-306690A0E4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00200"/>
            <a:ext cx="7024146" cy="5257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8389AB-0F0C-4E30-A17C-1519B75E02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7687" y="2676525"/>
            <a:ext cx="5153025" cy="272415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AF30AEC-FC47-4E21-AD35-FD6873008614}"/>
              </a:ext>
            </a:extLst>
          </p:cNvPr>
          <p:cNvSpPr txBox="1">
            <a:spLocks/>
          </p:cNvSpPr>
          <p:nvPr/>
        </p:nvSpPr>
        <p:spPr>
          <a:xfrm>
            <a:off x="330200" y="371895"/>
            <a:ext cx="1153160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defRPr/>
            </a:pPr>
            <a:r>
              <a:rPr lang="en-US" sz="6000" dirty="0">
                <a:solidFill>
                  <a:srgbClr val="505050"/>
                </a:solidFill>
              </a:rPr>
              <a:t>… </a:t>
            </a:r>
            <a:r>
              <a:rPr lang="en-US" sz="6000" dirty="0">
                <a:solidFill>
                  <a:srgbClr val="50505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with not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in Logic Apps?</a:t>
            </a:r>
          </a:p>
        </p:txBody>
      </p:sp>
    </p:spTree>
    <p:extLst>
      <p:ext uri="{BB962C8B-B14F-4D97-AF65-F5344CB8AC3E}">
        <p14:creationId xmlns:p14="http://schemas.microsoft.com/office/powerpoint/2010/main" val="1065214372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3FA4A5A-5424-4A03-B4D3-7BF06692E1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799" y="1239184"/>
            <a:ext cx="9808611" cy="561881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15C9016-4F26-4628-87F6-E14767C27CA5}"/>
              </a:ext>
            </a:extLst>
          </p:cNvPr>
          <p:cNvSpPr/>
          <p:nvPr/>
        </p:nvSpPr>
        <p:spPr>
          <a:xfrm>
            <a:off x="882650" y="390436"/>
            <a:ext cx="104267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first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(body('Exec_SP_-_</a:t>
            </a: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astExecutionTime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')?['</a:t>
            </a: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resultsets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']?['Table1'])?['</a:t>
            </a: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LastRun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']</a:t>
            </a:r>
          </a:p>
          <a:p>
            <a:pPr algn="ctr">
              <a:defRPr/>
            </a:pP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empty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(body('Exec_SP_-_</a:t>
            </a: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astExecutionTime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')?['</a:t>
            </a: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resultsets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']?['Table1'])</a:t>
            </a:r>
          </a:p>
        </p:txBody>
      </p:sp>
    </p:spTree>
    <p:extLst>
      <p:ext uri="{BB962C8B-B14F-4D97-AF65-F5344CB8AC3E}">
        <p14:creationId xmlns:p14="http://schemas.microsoft.com/office/powerpoint/2010/main" val="352381970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>
            <a:extLst>
              <a:ext uri="{FF2B5EF4-FFF2-40B4-BE49-F238E27FC236}">
                <a16:creationId xmlns:a16="http://schemas.microsoft.com/office/drawing/2014/main" id="{D0939DC1-2BDE-4897-B18E-734032D1A5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43" b="7843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C5576265-0FD5-4AB6-9011-D2D3BC969BAF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95DDED-BB0A-44F3-B465-030659F1A6DF}"/>
              </a:ext>
            </a:extLst>
          </p:cNvPr>
          <p:cNvSpPr txBox="1"/>
          <p:nvPr/>
        </p:nvSpPr>
        <p:spPr>
          <a:xfrm>
            <a:off x="659617" y="1801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8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58E13E-8E11-4B91-BADE-34E28DA62CC3}"/>
              </a:ext>
            </a:extLst>
          </p:cNvPr>
          <p:cNvSpPr/>
          <p:nvPr/>
        </p:nvSpPr>
        <p:spPr bwMode="auto">
          <a:xfrm>
            <a:off x="0" y="2226858"/>
            <a:ext cx="10274300" cy="1315054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31902EC-FC2B-4ED7-9388-952D913F46A3}"/>
              </a:ext>
            </a:extLst>
          </p:cNvPr>
          <p:cNvSpPr txBox="1">
            <a:spLocks/>
          </p:cNvSpPr>
          <p:nvPr/>
        </p:nvSpPr>
        <p:spPr>
          <a:xfrm>
            <a:off x="269238" y="2377870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expressions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nightmare….</a:t>
            </a:r>
          </a:p>
        </p:txBody>
      </p:sp>
    </p:spTree>
    <p:extLst>
      <p:ext uri="{BB962C8B-B14F-4D97-AF65-F5344CB8AC3E}">
        <p14:creationId xmlns:p14="http://schemas.microsoft.com/office/powerpoint/2010/main" val="381343596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3FBB62-4AAD-4615-9C6B-EADD16F123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137" y="166390"/>
            <a:ext cx="9991725" cy="40957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E87165A-830E-422A-A1F2-ABF59B0A61EC}"/>
              </a:ext>
            </a:extLst>
          </p:cNvPr>
          <p:cNvSpPr/>
          <p:nvPr/>
        </p:nvSpPr>
        <p:spPr>
          <a:xfrm>
            <a:off x="431800" y="4643735"/>
            <a:ext cx="113284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ody('Execute_SP_-_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et_BZT_lock_error_detail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?[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esultSet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]?['Table1'][0]?[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ErrorDescription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’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C19A5C-E14B-4FB7-915A-AFB512B1F56E}"/>
              </a:ext>
            </a:extLst>
          </p:cNvPr>
          <p:cNvSpPr/>
          <p:nvPr/>
        </p:nvSpPr>
        <p:spPr>
          <a:xfrm>
            <a:off x="730250" y="5288398"/>
            <a:ext cx="107315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onca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iv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ub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ick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utcNow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), 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ick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item()?[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reate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])), 10000000), ' segundo(s)'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B40602A-CDF2-4063-AB27-08CCA1C53A21}"/>
              </a:ext>
            </a:extLst>
          </p:cNvPr>
          <p:cNvSpPr/>
          <p:nvPr/>
        </p:nvSpPr>
        <p:spPr>
          <a:xfrm>
            <a:off x="609600" y="5881409"/>
            <a:ext cx="11150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iv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ontentClear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, 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oodCommunicator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) , 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EnjoySession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, 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etExpectation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)),4))</a:t>
            </a:r>
          </a:p>
        </p:txBody>
      </p:sp>
    </p:spTree>
    <p:extLst>
      <p:ext uri="{BB962C8B-B14F-4D97-AF65-F5344CB8AC3E}">
        <p14:creationId xmlns:p14="http://schemas.microsoft.com/office/powerpoint/2010/main" val="4045902317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B25C64D-9E68-472E-96B5-CFD6A8796277}"/>
              </a:ext>
            </a:extLst>
          </p:cNvPr>
          <p:cNvSpPr/>
          <p:nvPr/>
        </p:nvSpPr>
        <p:spPr>
          <a:xfrm>
            <a:off x="2777378" y="2698398"/>
            <a:ext cx="61366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ody(</a:t>
            </a:r>
            <a:r>
              <a:rPr kumimoji="0" lang="pt-PT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Execute_SP_-_</a:t>
            </a:r>
            <a:r>
              <a:rPr kumimoji="0" lang="pt-P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et_BZT_lock_error_details</a:t>
            </a:r>
            <a:r>
              <a:rPr kumimoji="0" lang="pt-P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</a:t>
            </a:r>
            <a:endParaRPr kumimoji="0" lang="pt-PT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75A2CB-51F5-4C67-9EC1-0E3D6EC1E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3994" y="2231503"/>
            <a:ext cx="1301641" cy="130312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F9D0DBF-3811-4E04-8281-71B657DF260A}"/>
              </a:ext>
            </a:extLst>
          </p:cNvPr>
          <p:cNvSpPr txBox="1"/>
          <p:nvPr/>
        </p:nvSpPr>
        <p:spPr>
          <a:xfrm>
            <a:off x="2777378" y="3429000"/>
            <a:ext cx="6637244" cy="140346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Name of the actions with the space replace by underscore</a:t>
            </a:r>
            <a:endParaRPr kumimoji="0" lang="en-US" sz="44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77756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26F6C2-F565-4794-8392-32D4AA68AF7F}"/>
              </a:ext>
            </a:extLst>
          </p:cNvPr>
          <p:cNvSpPr/>
          <p:nvPr/>
        </p:nvSpPr>
        <p:spPr>
          <a:xfrm>
            <a:off x="1587500" y="1284009"/>
            <a:ext cx="84836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iv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ontentClear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oodCommunicator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’)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) 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EnjoySession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etExpectation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’)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,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07774363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0" name="Picture 4">
            <a:extLst>
              <a:ext uri="{FF2B5EF4-FFF2-40B4-BE49-F238E27FC236}">
                <a16:creationId xmlns:a16="http://schemas.microsoft.com/office/drawing/2014/main" id="{00D4B5DC-35B6-45AA-9360-DDE2DFE7E9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77" b="10177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5323499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Resultado de imagem para post it">
            <a:extLst>
              <a:ext uri="{FF2B5EF4-FFF2-40B4-BE49-F238E27FC236}">
                <a16:creationId xmlns:a16="http://schemas.microsoft.com/office/drawing/2014/main" id="{B3603DB4-68DC-4C64-BEB7-4E300C8D48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79" y="258856"/>
            <a:ext cx="47625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640B11CD-E4D7-472C-83E7-3B34AB399001}"/>
              </a:ext>
            </a:extLst>
          </p:cNvPr>
          <p:cNvSpPr txBox="1">
            <a:spLocks/>
          </p:cNvSpPr>
          <p:nvPr/>
        </p:nvSpPr>
        <p:spPr>
          <a:xfrm>
            <a:off x="4966447" y="2294251"/>
            <a:ext cx="6965576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defRPr/>
            </a:pPr>
            <a:r>
              <a:rPr kumimoji="0" lang="en-US" sz="48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control </a:t>
            </a:r>
            <a:r>
              <a:rPr kumimoji="0" lang="en-US" sz="48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your </a:t>
            </a:r>
            <a:r>
              <a:rPr kumimoji="0" lang="en-US" sz="48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connectors</a:t>
            </a:r>
            <a:r>
              <a:rPr lang="en-US" sz="4800" dirty="0">
                <a:solidFill>
                  <a:srgbClr val="505050"/>
                </a:solidFill>
              </a:rPr>
              <a:t> (API connections)</a:t>
            </a:r>
            <a:endParaRPr kumimoji="0" lang="en-US" sz="4800" b="0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1B87D00-0AA4-433B-9360-B1146DBC7A91}"/>
              </a:ext>
            </a:extLst>
          </p:cNvPr>
          <p:cNvSpPr txBox="1"/>
          <p:nvPr/>
        </p:nvSpPr>
        <p:spPr>
          <a:xfrm>
            <a:off x="4966447" y="5118382"/>
            <a:ext cx="6637244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Duplicate connection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Unused</a:t>
            </a:r>
            <a:r>
              <a:rPr kumimoji="0" lang="en-US" sz="2400" b="1" i="0" u="none" strike="noStrike" kern="1200" cap="none" spc="-102" normalizeH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connections</a:t>
            </a:r>
            <a:endParaRPr kumimoji="0" lang="en-US" sz="24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Who are using this connections?</a:t>
            </a:r>
            <a:endParaRPr kumimoji="0" lang="en-US" sz="2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F137E6C-6FB1-425A-8CE7-09D83C917884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B4146FE-3123-4939-B8C8-B44284C2654F}"/>
              </a:ext>
            </a:extLst>
          </p:cNvPr>
          <p:cNvSpPr txBox="1"/>
          <p:nvPr/>
        </p:nvSpPr>
        <p:spPr>
          <a:xfrm>
            <a:off x="659617" y="1674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9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CFD031-23BE-4B68-80A8-A4E5D09EC2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122886">
            <a:off x="2012904" y="1925420"/>
            <a:ext cx="2228850" cy="1429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2293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5F4018-8A44-4271-9C46-F09B9575F1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4840941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7D88151-FD97-40B7-BBBC-925F2E03AB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3294" y="200025"/>
            <a:ext cx="8713716" cy="43533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8AEFA08-B813-4EF3-8499-65EB6F860C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254" y="2114240"/>
            <a:ext cx="8535591" cy="443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11242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>
            <a:extLst>
              <a:ext uri="{FF2B5EF4-FFF2-40B4-BE49-F238E27FC236}">
                <a16:creationId xmlns:a16="http://schemas.microsoft.com/office/drawing/2014/main" id="{53B808B0-0CB1-4DAD-B1EC-67DBBF1694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43"/>
          <a:stretch/>
        </p:blipFill>
        <p:spPr bwMode="auto">
          <a:xfrm>
            <a:off x="0" y="-26741"/>
            <a:ext cx="12192000" cy="6884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8BB373A-7853-46DD-B5F3-6B564E4C40BE}"/>
              </a:ext>
            </a:extLst>
          </p:cNvPr>
          <p:cNvSpPr/>
          <p:nvPr/>
        </p:nvSpPr>
        <p:spPr bwMode="auto">
          <a:xfrm>
            <a:off x="0" y="5126504"/>
            <a:ext cx="11379200" cy="1315054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8D56974-A88E-4B02-A14E-4EAA627C5275}"/>
              </a:ext>
            </a:extLst>
          </p:cNvPr>
          <p:cNvSpPr txBox="1">
            <a:spLocks/>
          </p:cNvSpPr>
          <p:nvPr/>
        </p:nvSpPr>
        <p:spPr>
          <a:xfrm>
            <a:off x="307338" y="5277516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defRPr/>
            </a:pPr>
            <a:r>
              <a:rPr lang="en-US" sz="6000" dirty="0">
                <a:solidFill>
                  <a:srgbClr val="FFFFFF"/>
                </a:solidFill>
                <a:latin typeface="Segoe UI Light"/>
              </a:rPr>
              <a:t>find</a:t>
            </a:r>
            <a:r>
              <a:rPr lang="en-US" sz="6000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 orphaned </a:t>
            </a:r>
            <a:r>
              <a:rPr lang="en-US" sz="6000" dirty="0">
                <a:solidFill>
                  <a:srgbClr val="FFFFFF"/>
                </a:solidFill>
                <a:latin typeface="Segoe UI Light"/>
              </a:rPr>
              <a:t>API Connectors…</a:t>
            </a:r>
            <a:endParaRPr kumimoji="0" lang="en-US" sz="6000" b="0" i="0" u="none" strike="noStrike" kern="1200" cap="none" spc="-102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5342D1-4F45-40A3-B577-219AC775B5C0}"/>
              </a:ext>
            </a:extLst>
          </p:cNvPr>
          <p:cNvSpPr txBox="1"/>
          <p:nvPr/>
        </p:nvSpPr>
        <p:spPr>
          <a:xfrm>
            <a:off x="3467100" y="542604"/>
            <a:ext cx="8300757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en-US" sz="2400" b="1" spc="-102" dirty="0">
                <a:ln w="3175">
                  <a:noFill/>
                </a:ln>
                <a:solidFill>
                  <a:schemeClr val="bg1"/>
                </a:solidFill>
                <a:latin typeface="Segoe UI Light"/>
                <a:cs typeface="Segoe UI" pitchFamily="34" charset="0"/>
              </a:rPr>
              <a:t>There is no simple and direct way to find unused API Connections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sz="2400" b="1" spc="-102" dirty="0">
                <a:ln w="3175">
                  <a:noFill/>
                </a:ln>
                <a:solidFill>
                  <a:schemeClr val="bg1"/>
                </a:solidFill>
                <a:latin typeface="Segoe UI Light"/>
                <a:cs typeface="Segoe UI" pitchFamily="34" charset="0"/>
              </a:rPr>
              <a:t>Nightmare for governance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sz="2400" b="1" spc="-102" dirty="0">
                <a:ln w="3175">
                  <a:noFill/>
                </a:ln>
                <a:solidFill>
                  <a:schemeClr val="bg1"/>
                </a:solidFill>
                <a:latin typeface="Segoe UI Light"/>
                <a:cs typeface="Segoe UI" pitchFamily="34" charset="0"/>
              </a:rPr>
              <a:t>One of the biggest pains in Logic App development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7B731E6-8027-47C2-AE74-394A47DE9D24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C1A17D-22A1-4A46-A745-ADB5B7306DDA}"/>
              </a:ext>
            </a:extLst>
          </p:cNvPr>
          <p:cNvSpPr txBox="1"/>
          <p:nvPr/>
        </p:nvSpPr>
        <p:spPr>
          <a:xfrm>
            <a:off x="253217" y="192887"/>
            <a:ext cx="2083583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10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8243331"/>
      </p:ext>
    </p:extLst>
  </p:cSld>
  <p:clrMapOvr>
    <a:masterClrMapping/>
  </p:clrMapOvr>
  <p:transition spd="slow">
    <p:push dir="u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B94ABDE-E7F6-447F-8DBB-BB9DF5E2CE2F}"/>
              </a:ext>
            </a:extLst>
          </p:cNvPr>
          <p:cNvSpPr/>
          <p:nvPr/>
        </p:nvSpPr>
        <p:spPr>
          <a:xfrm>
            <a:off x="304800" y="286435"/>
            <a:ext cx="85725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dirty="0">
                <a:hlinkClick r:id="rId2"/>
              </a:rPr>
              <a:t>https://www.integration-playbook.io/docs/find-orphaned-api-connectors</a:t>
            </a:r>
            <a:endParaRPr lang="pt-PT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91A51D-2967-4BCC-9193-29F0AB978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3400" y="655767"/>
            <a:ext cx="10189401" cy="6055573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D47E8FFD-B783-4B44-96B2-20B38CFF11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00" y="1366967"/>
            <a:ext cx="1778000" cy="1778000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8012721"/>
      </p:ext>
    </p:extLst>
  </p:cSld>
  <p:clrMapOvr>
    <a:masterClrMapping/>
  </p:clrMapOvr>
  <p:transition spd="slow">
    <p:push dir="u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5DEDADF-FCF0-4680-8102-796BD946E6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5980" y="1866900"/>
            <a:ext cx="3831041" cy="38354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3A2F11B-6796-4E04-9EE0-84C670785202}"/>
              </a:ext>
            </a:extLst>
          </p:cNvPr>
          <p:cNvSpPr txBox="1">
            <a:spLocks/>
          </p:cNvSpPr>
          <p:nvPr/>
        </p:nvSpPr>
        <p:spPr>
          <a:xfrm>
            <a:off x="5305425" y="536638"/>
            <a:ext cx="6538632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fix </a:t>
            </a:r>
            <a:r>
              <a:rPr lang="en-US" sz="6000" dirty="0">
                <a:solidFill>
                  <a:srgbClr val="50505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connectors</a:t>
            </a:r>
            <a:r>
              <a:rPr lang="en-US" sz="6000" dirty="0">
                <a:solidFill>
                  <a:srgbClr val="505050"/>
                </a:solidFill>
              </a:rPr>
              <a:t> (API connections)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34DE70-1933-472D-AAC7-C54E24B20E12}"/>
              </a:ext>
            </a:extLst>
          </p:cNvPr>
          <p:cNvSpPr txBox="1"/>
          <p:nvPr/>
        </p:nvSpPr>
        <p:spPr>
          <a:xfrm>
            <a:off x="5206813" y="4543104"/>
            <a:ext cx="6637244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Designer performs design-time checks against your logic app flow for design issu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Errors put into focus to save your time and frustration</a:t>
            </a:r>
            <a:endParaRPr kumimoji="0" lang="en-US" sz="2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43D68AE-1B00-4878-B797-74FCD2D044BF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A81B02E-1456-4389-81D4-EC801BE37563}"/>
              </a:ext>
            </a:extLst>
          </p:cNvPr>
          <p:cNvSpPr txBox="1"/>
          <p:nvPr/>
        </p:nvSpPr>
        <p:spPr>
          <a:xfrm>
            <a:off x="253217" y="192887"/>
            <a:ext cx="2083583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11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47188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8F5CA17-6ECF-4019-831C-96BB0A2DD2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675" y="600075"/>
            <a:ext cx="6191250" cy="28289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DA0E92-F347-4A50-A78F-C5AB593111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0662" y="3252787"/>
            <a:ext cx="6467475" cy="309562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EC7731C-E88E-48F0-BDA0-8090507653F7}"/>
              </a:ext>
            </a:extLst>
          </p:cNvPr>
          <p:cNvSpPr/>
          <p:nvPr/>
        </p:nvSpPr>
        <p:spPr bwMode="auto">
          <a:xfrm>
            <a:off x="6096000" y="5143500"/>
            <a:ext cx="469900" cy="469900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P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17992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https://lh3.googleusercontent.com/kDyYghx2Tl6GBafgESLQ5UwvxmclP64jorUeXe6Fi5KmuoQh0TglN2Wr9JRYGylZ9GAs2oekWUTRcM3PRZKMJOkXrbvyfO0c91bG-E0W5_qOCqNKfCjzMVEzTees7QUPfh-W17WCh9aABWGT6NszYNSH19KJLriTRQw2i8Ja7SOCn_fXkWMFqnzSFC13RKtc3diugv1ULfOA2g87IkcJj24ehJondB7JD8gplzzNNz52EHCLyNsSnoY66dQ0rWI97qN62aBmEuajifePn_R1c2GChXNoERjJsevN85KrnV4yTyz7AVDJLRtfPEdtuF3tYTXIzIrKhVhpHKvo5HRWZvc8vDb-Qu9mhtO6BmlHtS09dZR8iCkakGGQspAN8IZnL5R0qTH7Tzgiono3uHiw3xLoXHoEarRLPJLypIhhPFIWaCxRd42Yh6WRTlaVDTr2AcCU1k8mXOOZoGaGSrd2hurEILm8vru0355-25LIE6vV5rSXNqhoAS4gNEXgAmgxtTv1DXiHn71RpFVJtZlR6piQ1puHKUQ-93pk2s8z8ZT9_K-qDUfG8CR971PvHltBbGZ7IFvZJkmpQ9ug6IONkAz7kHGRqC6QRG5PtlP5-qFv4H8f0_NybIe0a4Tb43rKHBIhzjIo18Ti3UPhZp0_ZD811uUfUgg=w1168-h657-no">
            <a:extLst>
              <a:ext uri="{FF2B5EF4-FFF2-40B4-BE49-F238E27FC236}">
                <a16:creationId xmlns:a16="http://schemas.microsoft.com/office/drawing/2014/main" id="{9C65796C-AAB9-41B6-A5BC-76902D02FA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300038"/>
            <a:ext cx="11125200" cy="6257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F7997CD-0A42-44AE-9CF1-47204EA4DEAF}"/>
              </a:ext>
            </a:extLst>
          </p:cNvPr>
          <p:cNvSpPr/>
          <p:nvPr/>
        </p:nvSpPr>
        <p:spPr bwMode="auto">
          <a:xfrm>
            <a:off x="158318" y="261823"/>
            <a:ext cx="4718482" cy="120745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itle 1"/>
          <p:cNvSpPr>
            <a:spLocks noGrp="1"/>
          </p:cNvSpPr>
          <p:nvPr/>
        </p:nvSpPr>
        <p:spPr>
          <a:xfrm>
            <a:off x="433316" y="300037"/>
            <a:ext cx="11225284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>
                <a:ln w="3175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-10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 </a:t>
            </a:r>
            <a:r>
              <a:rPr kumimoji="0" lang="en-US" sz="8000" b="0" i="0" u="none" strike="noStrike" kern="1200" cap="none" spc="-100" normalizeH="0" baseline="0" noProof="0" dirty="0">
                <a:ln w="3175">
                  <a:noFill/>
                </a:ln>
                <a:solidFill>
                  <a:srgbClr val="2A49A4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thanks</a:t>
            </a:r>
            <a:r>
              <a:rPr kumimoji="0" lang="en-US" sz="8000" b="0" i="0" u="none" strike="noStrike" kern="1200" cap="none" spc="-100" normalizeH="0" baseline="0" noProof="0" dirty="0">
                <a:ln w="3175">
                  <a:noFill/>
                </a:ln>
                <a:solidFill>
                  <a:srgbClr val="2A49A4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…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3935794-053F-4022-AF1B-BF76FD6B4E90}"/>
              </a:ext>
            </a:extLst>
          </p:cNvPr>
          <p:cNvSpPr/>
          <p:nvPr/>
        </p:nvSpPr>
        <p:spPr bwMode="auto">
          <a:xfrm>
            <a:off x="717984" y="4759508"/>
            <a:ext cx="9789086" cy="715632"/>
          </a:xfrm>
          <a:prstGeom prst="rect">
            <a:avLst/>
          </a:prstGeom>
          <a:solidFill>
            <a:srgbClr val="282828"/>
          </a:solidFill>
          <a:ln w="38100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/>
        </p:spPr>
        <p:txBody>
          <a:bodyPr vert="horz" wrap="square" lIns="89626" tIns="134445" rIns="89626" bIns="134445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1231" marR="0" lvl="0" indent="-451231" algn="l" defTabSz="89623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Blip>
                <a:blip r:embed="rId4"/>
              </a:buBlip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BEFAF71-7116-4660-8E4B-8E7FB1F1B0D8}"/>
              </a:ext>
            </a:extLst>
          </p:cNvPr>
          <p:cNvGrpSpPr/>
          <p:nvPr/>
        </p:nvGrpSpPr>
        <p:grpSpPr>
          <a:xfrm>
            <a:off x="3424469" y="2134330"/>
            <a:ext cx="7078993" cy="2631101"/>
            <a:chOff x="476254" y="2417159"/>
            <a:chExt cx="11204704" cy="1958897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4B4C467-9AAE-4F46-80AC-11C5E455557E}"/>
                </a:ext>
              </a:extLst>
            </p:cNvPr>
            <p:cNvSpPr/>
            <p:nvPr/>
          </p:nvSpPr>
          <p:spPr bwMode="auto">
            <a:xfrm>
              <a:off x="507868" y="2417159"/>
              <a:ext cx="11173090" cy="1958897"/>
            </a:xfrm>
            <a:prstGeom prst="rect">
              <a:avLst/>
            </a:prstGeom>
            <a:solidFill>
              <a:srgbClr val="0072C6">
                <a:alpha val="88000"/>
              </a:srgbClr>
            </a:solidFill>
            <a:ln w="38100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soft" dir="tl">
                <a:rot lat="0" lon="0" rev="20000000"/>
              </a:lightRig>
            </a:scene3d>
            <a:sp3d prstMaterial="matte"/>
          </p:spPr>
          <p:txBody>
            <a:bodyPr vert="horz" wrap="square" lIns="89626" tIns="134445" rIns="89626" bIns="134445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1231" marR="0" lvl="0" indent="-451231" algn="l" defTabSz="896236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Blip>
                  <a:blip r:embed="rId4"/>
                </a:buBlip>
                <a:tabLst/>
                <a:defRPr/>
              </a:pPr>
              <a:endParaRPr kumimoji="0" lang="en-US" sz="2353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D8973F1-D522-4AF9-8D1D-2D9AFA24F073}"/>
                </a:ext>
              </a:extLst>
            </p:cNvPr>
            <p:cNvSpPr/>
            <p:nvPr/>
          </p:nvSpPr>
          <p:spPr>
            <a:xfrm>
              <a:off x="476254" y="3205405"/>
              <a:ext cx="11013090" cy="101088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43333" marR="0" lvl="1" indent="-395215" algn="l" defTabSz="896236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105000"/>
                <a:buFontTx/>
                <a:buBlip>
                  <a:blip r:embed="rId5"/>
                </a:buBlip>
                <a:tabLst/>
                <a:defRPr/>
              </a:pPr>
              <a:r>
                <a:rPr kumimoji="0" lang="en-US" sz="1961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alpha val="99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andro.pereira@devscope.net</a:t>
              </a:r>
            </a:p>
            <a:p>
              <a:pPr marL="843333" marR="0" lvl="1" indent="-395215" algn="l" defTabSz="896236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105000"/>
                <a:buFontTx/>
                <a:buBlip>
                  <a:blip r:embed="rId5"/>
                </a:buBlip>
                <a:tabLst/>
                <a:defRPr/>
              </a:pPr>
              <a:r>
                <a:rPr kumimoji="0" lang="en-US" sz="1961" b="1" i="0" u="none" strike="noStrike" kern="1200" cap="none" spc="0" normalizeH="0" baseline="0" noProof="1">
                  <a:ln>
                    <a:noFill/>
                  </a:ln>
                  <a:solidFill>
                    <a:srgbClr val="FFFFFF">
                      <a:alpha val="99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inkedin.com/in/sandropereira</a:t>
              </a:r>
            </a:p>
            <a:p>
              <a:pPr marL="843333" marR="0" lvl="1" indent="-395215" algn="l" defTabSz="896236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105000"/>
                <a:buFontTx/>
                <a:buBlip>
                  <a:blip r:embed="rId5"/>
                </a:buBlip>
                <a:tabLst/>
                <a:defRPr/>
              </a:pPr>
              <a:r>
                <a:rPr kumimoji="0" lang="en-US" sz="196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alpha val="99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@</a:t>
              </a:r>
              <a:r>
                <a:rPr kumimoji="0" lang="en-US" sz="1961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alpha val="99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andro_asp </a:t>
              </a:r>
            </a:p>
            <a:p>
              <a:pPr marL="843333" marR="0" lvl="1" indent="-395215" algn="l" defTabSz="896236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105000"/>
                <a:buFontTx/>
                <a:buBlip>
                  <a:blip r:embed="rId5"/>
                </a:buBlip>
                <a:tabLst/>
                <a:defRPr/>
              </a:pPr>
              <a:r>
                <a:rPr kumimoji="0" lang="en-US" sz="1961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alpha val="99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log.sandro-pereira.com/</a:t>
              </a: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13F03E9C-5C9B-4B35-BDEF-84B9E352290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8" y="2134330"/>
            <a:ext cx="2730066" cy="2631102"/>
          </a:xfrm>
          <a:prstGeom prst="rect">
            <a:avLst/>
          </a:prstGeom>
        </p:spPr>
      </p:pic>
      <p:sp>
        <p:nvSpPr>
          <p:cNvPr id="18" name="Text Placeholder 30">
            <a:extLst>
              <a:ext uri="{FF2B5EF4-FFF2-40B4-BE49-F238E27FC236}">
                <a16:creationId xmlns:a16="http://schemas.microsoft.com/office/drawing/2014/main" id="{A67CD3DF-E688-49A1-BBA2-F6BC407A4F3C}"/>
              </a:ext>
            </a:extLst>
          </p:cNvPr>
          <p:cNvSpPr txBox="1">
            <a:spLocks/>
          </p:cNvSpPr>
          <p:nvPr/>
        </p:nvSpPr>
        <p:spPr>
          <a:xfrm>
            <a:off x="8012332" y="4816465"/>
            <a:ext cx="2903003" cy="8216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961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+351 223 751 350</a:t>
            </a:r>
          </a:p>
          <a:p>
            <a:pPr marL="0" marR="0" lvl="0" indent="0" algn="l" defTabSz="9142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961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www.devscope.net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3DB60675-6A18-4272-923A-15B2FCB075D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45" y="4644974"/>
            <a:ext cx="2262662" cy="950624"/>
          </a:xfrm>
          <a:prstGeom prst="rect">
            <a:avLst/>
          </a:prstGeom>
        </p:spPr>
      </p:pic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0AF4905E-9A25-4A61-A251-0BF875925CCF}"/>
              </a:ext>
            </a:extLst>
          </p:cNvPr>
          <p:cNvSpPr txBox="1">
            <a:spLocks/>
          </p:cNvSpPr>
          <p:nvPr/>
        </p:nvSpPr>
        <p:spPr>
          <a:xfrm>
            <a:off x="3706801" y="2134746"/>
            <a:ext cx="6810856" cy="139062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5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2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Sandro Pereira</a:t>
            </a:r>
          </a:p>
          <a:p>
            <a:pPr marL="0" marR="0" lvl="0" indent="0" algn="l" defTabSz="9325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Integration Codeless Wizard | Microsoft Azure MVP</a:t>
            </a:r>
          </a:p>
          <a:p>
            <a:pPr marL="342842" marR="0" lvl="0" indent="-342842" algn="l" defTabSz="9325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392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1" name="Picture 30" descr="http://4.bp.blogspot.com/-OUfCsUCY3B4/VGgJCYMcsGI/AAAAAAAAIuQ/dyBpOE8ZilM/s230/mvp_logo.png">
            <a:extLst>
              <a:ext uri="{FF2B5EF4-FFF2-40B4-BE49-F238E27FC236}">
                <a16:creationId xmlns:a16="http://schemas.microsoft.com/office/drawing/2014/main" id="{FF49006E-0768-4BAA-884D-B5505A2F1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7183" y="3692732"/>
            <a:ext cx="2190440" cy="1009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6988715"/>
      </p:ext>
    </p:extLst>
  </p:cSld>
  <p:clrMapOvr>
    <a:masterClrMapping/>
  </p:clrMapOvr>
  <p:transition spd="slow">
    <p:push dir="u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98A7E04-F4BA-4C38-A34F-91B406805B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067724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F6556E5A-361F-4370-AA52-623866E54A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0328324-6137-4295-B5F8-4245360598CC}"/>
              </a:ext>
            </a:extLst>
          </p:cNvPr>
          <p:cNvSpPr/>
          <p:nvPr/>
        </p:nvSpPr>
        <p:spPr bwMode="auto">
          <a:xfrm>
            <a:off x="0" y="4233458"/>
            <a:ext cx="9372600" cy="1315054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9A33B3-75CF-4A91-8330-DBEE671048B4}"/>
              </a:ext>
            </a:extLst>
          </p:cNvPr>
          <p:cNvSpPr txBox="1">
            <a:spLocks/>
          </p:cNvSpPr>
          <p:nvPr/>
        </p:nvSpPr>
        <p:spPr>
          <a:xfrm>
            <a:off x="269238" y="4384470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this house have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kids'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917746468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5841CC0-4146-43F8-8E7D-53A11857D8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01DE6E9-66EB-4FD6-95A5-04356B496E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57" y="6045722"/>
            <a:ext cx="1895631" cy="4842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1FC3346-D755-49C3-AF94-A4E9E224A47B}"/>
              </a:ext>
            </a:extLst>
          </p:cNvPr>
          <p:cNvSpPr/>
          <p:nvPr/>
        </p:nvSpPr>
        <p:spPr bwMode="auto">
          <a:xfrm>
            <a:off x="1187144" y="1998407"/>
            <a:ext cx="9817712" cy="2861187"/>
          </a:xfrm>
          <a:prstGeom prst="rect">
            <a:avLst/>
          </a:prstGeom>
          <a:solidFill>
            <a:srgbClr val="A78D6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I quickly implement them, and they seem to be working fine, but… How are my Logic Apps? What Was Wrong?</a:t>
            </a:r>
            <a:endParaRPr lang="pt-PT" sz="3600" b="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7C489D-1935-488A-B799-41A977A129C8}"/>
              </a:ext>
            </a:extLst>
          </p:cNvPr>
          <p:cNvSpPr/>
          <p:nvPr/>
        </p:nvSpPr>
        <p:spPr>
          <a:xfrm>
            <a:off x="8847654" y="6464284"/>
            <a:ext cx="20596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pt-PT" cap="all" dirty="0">
                <a:solidFill>
                  <a:srgbClr val="999999"/>
                </a:solidFill>
                <a:latin typeface="nyt-magsans"/>
                <a:hlinkClick r:id="rId4"/>
              </a:rPr>
              <a:t>LISA SANDERS, M.D.</a:t>
            </a:r>
            <a:endParaRPr lang="pt-PT" b="0" i="0" u="none" strike="noStrike" dirty="0">
              <a:solidFill>
                <a:srgbClr val="999999"/>
              </a:solidFill>
              <a:effectLst/>
              <a:latin typeface="nyt-magsans"/>
              <a:hlinkClick r:id="rId4"/>
            </a:endParaRPr>
          </a:p>
        </p:txBody>
      </p:sp>
    </p:spTree>
    <p:extLst>
      <p:ext uri="{BB962C8B-B14F-4D97-AF65-F5344CB8AC3E}">
        <p14:creationId xmlns:p14="http://schemas.microsoft.com/office/powerpoint/2010/main" val="8327653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>
            <a:extLst>
              <a:ext uri="{FF2B5EF4-FFF2-40B4-BE49-F238E27FC236}">
                <a16:creationId xmlns:a16="http://schemas.microsoft.com/office/drawing/2014/main" id="{0BF0F40E-7427-4D05-9239-4AD2F5AF54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4" b="1036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5BCDB9-0CB4-4392-B23C-F9A93B507A9B}"/>
              </a:ext>
            </a:extLst>
          </p:cNvPr>
          <p:cNvSpPr/>
          <p:nvPr/>
        </p:nvSpPr>
        <p:spPr bwMode="auto">
          <a:xfrm>
            <a:off x="0" y="2226858"/>
            <a:ext cx="9372600" cy="1315054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D3A60EE-AFD5-4B34-8EE7-AB165748CE73}"/>
              </a:ext>
            </a:extLst>
          </p:cNvPr>
          <p:cNvSpPr txBox="1">
            <a:spLocks/>
          </p:cNvSpPr>
          <p:nvPr/>
        </p:nvSpPr>
        <p:spPr>
          <a:xfrm>
            <a:off x="269238" y="2377870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A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naming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vention…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18687A-8D67-44E5-9C00-A23A1CB5B4AB}"/>
              </a:ext>
            </a:extLst>
          </p:cNvPr>
          <p:cNvSpPr txBox="1"/>
          <p:nvPr/>
        </p:nvSpPr>
        <p:spPr>
          <a:xfrm>
            <a:off x="5130613" y="542604"/>
            <a:ext cx="6637244" cy="16250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Use descriptive nam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mproves readability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Transfer knowledge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sz="24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You can’t rename Logic Apps… directly</a:t>
            </a:r>
            <a:endParaRPr lang="en-US" sz="2800" b="1" spc="-102" dirty="0">
              <a:ln w="3175">
                <a:noFill/>
              </a:ln>
              <a:solidFill>
                <a:srgbClr val="505050"/>
              </a:solidFill>
              <a:latin typeface="Segoe UI Light"/>
              <a:cs typeface="Segoe UI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3891B96-0F84-49AE-975B-DB5BDA4024CA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40F4E0F-0252-4AFD-9C57-5BA1AF6A2D26}"/>
              </a:ext>
            </a:extLst>
          </p:cNvPr>
          <p:cNvSpPr txBox="1"/>
          <p:nvPr/>
        </p:nvSpPr>
        <p:spPr>
          <a:xfrm>
            <a:off x="634217" y="1293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1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0574141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7176191-AB34-442E-990B-B9AEAAFA86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18" y="0"/>
            <a:ext cx="12170364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614D8DC-F70E-436E-B4FE-59F9D5352B94}"/>
              </a:ext>
            </a:extLst>
          </p:cNvPr>
          <p:cNvSpPr txBox="1"/>
          <p:nvPr/>
        </p:nvSpPr>
        <p:spPr>
          <a:xfrm>
            <a:off x="6194682" y="440266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OC-</a:t>
            </a:r>
            <a:r>
              <a:rPr kumimoji="0" lang="pt-PT" sz="2000" b="1" i="0" u="none" strike="noStrike" kern="1200" cap="none" spc="-102" normalizeH="0" baseline="0" dirty="0" err="1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ccessingLastElementXMLArray</a:t>
            </a: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-DEV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C1E995-1DE0-40AE-9F8A-99969A7EC41D}"/>
              </a:ext>
            </a:extLst>
          </p:cNvPr>
          <p:cNvSpPr txBox="1"/>
          <p:nvPr/>
        </p:nvSpPr>
        <p:spPr>
          <a:xfrm>
            <a:off x="6194683" y="1338859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OC-</a:t>
            </a:r>
            <a:r>
              <a:rPr kumimoji="0" lang="pt-PT" sz="2000" b="1" i="0" u="none" strike="noStrike" kern="1200" cap="none" spc="-102" normalizeH="0" baseline="0" dirty="0" err="1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heckJSONStructureContainArray</a:t>
            </a: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-DEV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666FE9-186A-463B-9B90-D84643F7557D}"/>
              </a:ext>
            </a:extLst>
          </p:cNvPr>
          <p:cNvSpPr txBox="1"/>
          <p:nvPr/>
        </p:nvSpPr>
        <p:spPr>
          <a:xfrm>
            <a:off x="6194683" y="890631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OC-</a:t>
            </a:r>
            <a:r>
              <a:rPr kumimoji="0" lang="pt-PT" sz="2000" b="1" i="0" u="none" strike="noStrike" kern="1200" cap="none" spc="-102" normalizeH="0" baseline="0" dirty="0" err="1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orkingWithArrays</a:t>
            </a: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-DEV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F79B3F-0CEF-4F83-AFBD-C1A4C8DFF688}"/>
              </a:ext>
            </a:extLst>
          </p:cNvPr>
          <p:cNvSpPr txBox="1"/>
          <p:nvPr/>
        </p:nvSpPr>
        <p:spPr>
          <a:xfrm>
            <a:off x="6194683" y="1806399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GAB2020-Event-EmailDemo</a:t>
            </a:r>
            <a:endParaRPr kumimoji="0" lang="en-US" sz="2000" b="1" i="0" u="none" strike="noStrike" kern="1200" cap="none" spc="-102" normalizeH="0" baseline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3C7E84F-4364-44B0-8844-80D6F215CE8D}"/>
              </a:ext>
            </a:extLst>
          </p:cNvPr>
          <p:cNvSpPr txBox="1"/>
          <p:nvPr/>
        </p:nvSpPr>
        <p:spPr>
          <a:xfrm>
            <a:off x="6194683" y="4498370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POC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ReceiveMsgFromBizTalk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DEV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545DA9-0B05-4449-9ABC-3BD331ACADD9}"/>
              </a:ext>
            </a:extLst>
          </p:cNvPr>
          <p:cNvSpPr txBox="1"/>
          <p:nvPr/>
        </p:nvSpPr>
        <p:spPr>
          <a:xfrm>
            <a:off x="6194683" y="4934149"/>
            <a:ext cx="528040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POC-OCR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SmartDocumentor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-DEV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6444CBD-2433-4F3E-AC4E-D818F5512322}"/>
              </a:ext>
            </a:extLst>
          </p:cNvPr>
          <p:cNvSpPr txBox="1"/>
          <p:nvPr/>
        </p:nvSpPr>
        <p:spPr>
          <a:xfrm>
            <a:off x="6194683" y="5394664"/>
            <a:ext cx="5280407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DVS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SmartDocumentor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InvoiceProcessing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PRD</a:t>
            </a:r>
            <a:endParaRPr lang="pt-PT" sz="2000" b="1" spc="-102" dirty="0">
              <a:ln w="3175">
                <a:noFill/>
              </a:ln>
              <a:solidFill>
                <a:srgbClr val="505050"/>
              </a:solidFill>
              <a:latin typeface="Segoe UI Light"/>
              <a:cs typeface="Segoe UI" pitchFamily="34" charset="0"/>
            </a:endParaRPr>
          </a:p>
        </p:txBody>
      </p:sp>
      <p:pic>
        <p:nvPicPr>
          <p:cNvPr id="13314" name="Picture 2" descr="Resultado de imagem para ok">
            <a:extLst>
              <a:ext uri="{FF2B5EF4-FFF2-40B4-BE49-F238E27FC236}">
                <a16:creationId xmlns:a16="http://schemas.microsoft.com/office/drawing/2014/main" id="{E5E7CE69-A1E3-4FD3-A22C-436F792381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2636" y="4105595"/>
            <a:ext cx="492023" cy="492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3F0F853-0B98-4E10-84B7-8C6501C3DC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9782" y="5028546"/>
            <a:ext cx="457730" cy="4582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E2FF87A-BD48-4A76-9C75-3BCB5F9731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525073"/>
            <a:ext cx="457729" cy="45825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F66C309-F5A5-4DD4-B221-A8DF0FE97C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979186"/>
            <a:ext cx="457729" cy="45825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F9D074A-06E7-43BB-9A2B-6C294249AF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9782" y="1426156"/>
            <a:ext cx="457730" cy="45825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7E807E9-BB66-453E-9A9C-5E35C591CE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9782" y="2322477"/>
            <a:ext cx="457730" cy="45825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B262811-8869-4E36-B287-384863DD5D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1875507"/>
            <a:ext cx="457729" cy="45825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D81D68F-6606-4C25-8EEC-6C742AC259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9782" y="2771828"/>
            <a:ext cx="457730" cy="45825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89CFE02-43F6-4DDF-9F68-87739CF368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3221179"/>
            <a:ext cx="457729" cy="45825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7606C32-B35A-425F-BFD0-0C2DDD4A56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9782" y="3668149"/>
            <a:ext cx="457730" cy="45825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19ADA20-B357-4943-919B-D694BDAE8B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4576814"/>
            <a:ext cx="457729" cy="45825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F7EEA171-24E5-49EF-A227-640CE36A58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5477897"/>
            <a:ext cx="457729" cy="45825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F2E83B5-C913-4F8F-93A9-36021BF7E3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5927248"/>
            <a:ext cx="457729" cy="45825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E5A1830-FEFC-45AA-8D67-AF7F07BDD0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6374212"/>
            <a:ext cx="457729" cy="45825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5B37C38B-2F24-4964-8821-C708726D993D}"/>
              </a:ext>
            </a:extLst>
          </p:cNvPr>
          <p:cNvSpPr txBox="1"/>
          <p:nvPr/>
        </p:nvSpPr>
        <p:spPr>
          <a:xfrm>
            <a:off x="6196080" y="2253688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OC-</a:t>
            </a:r>
            <a:r>
              <a:rPr kumimoji="0" lang="pt-PT" sz="2000" b="1" i="0" u="none" strike="noStrike" kern="1200" cap="none" spc="-102" normalizeH="0" baseline="0" dirty="0" err="1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allAzureFunctionHTTPTrigger</a:t>
            </a: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-DEV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723169-6B4F-4F75-B505-6302289D2605}"/>
              </a:ext>
            </a:extLst>
          </p:cNvPr>
          <p:cNvSpPr txBox="1"/>
          <p:nvPr/>
        </p:nvSpPr>
        <p:spPr>
          <a:xfrm>
            <a:off x="6196081" y="3152281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&lt;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project-name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&gt;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MonitorBizTalkPorts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-PRD</a:t>
            </a:r>
            <a:endParaRPr kumimoji="0" lang="pt-PT" sz="2000" b="1" i="0" u="none" strike="noStrike" kern="1200" cap="none" spc="-102" normalizeH="0" baseline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cs typeface="Segoe UI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943F661-7801-4036-A75E-1CF031B5BEB7}"/>
              </a:ext>
            </a:extLst>
          </p:cNvPr>
          <p:cNvSpPr txBox="1"/>
          <p:nvPr/>
        </p:nvSpPr>
        <p:spPr>
          <a:xfrm>
            <a:off x="6196081" y="2704053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OC-</a:t>
            </a:r>
            <a:r>
              <a:rPr kumimoji="0" lang="pt-PT" sz="2000" b="1" i="0" u="none" strike="noStrike" kern="1200" cap="none" spc="-102" normalizeH="0" baseline="0" dirty="0" err="1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HowToHandleGetCalls</a:t>
            </a: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-DEV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36F247C-8A5C-49A7-8E0B-C80BD4AC7686}"/>
              </a:ext>
            </a:extLst>
          </p:cNvPr>
          <p:cNvSpPr txBox="1"/>
          <p:nvPr/>
        </p:nvSpPr>
        <p:spPr>
          <a:xfrm>
            <a:off x="6196081" y="3619821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spc="-102" dirty="0" err="1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IntMonday</a:t>
            </a:r>
            <a:r>
              <a:rPr lang="en-US" sz="20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-Event-</a:t>
            </a:r>
            <a:r>
              <a:rPr lang="en-US" sz="2000" b="1" spc="-102" dirty="0" err="1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OneDriveToEmailDemo</a:t>
            </a:r>
            <a:endParaRPr kumimoji="0" lang="en-US" sz="2000" b="1" i="0" u="none" strike="noStrike" kern="1200" cap="none" spc="-102" normalizeH="0" baseline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cs typeface="Segoe UI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4A2C573-28A8-49E9-8F3B-6BA4082AC23D}"/>
              </a:ext>
            </a:extLst>
          </p:cNvPr>
          <p:cNvSpPr txBox="1"/>
          <p:nvPr/>
        </p:nvSpPr>
        <p:spPr>
          <a:xfrm>
            <a:off x="6187692" y="5865846"/>
            <a:ext cx="5520762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DVS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SmartDocumentor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ExpensesProcessing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PRD</a:t>
            </a:r>
            <a:endParaRPr lang="pt-PT" sz="2000" b="1" spc="-102" dirty="0">
              <a:ln w="3175">
                <a:noFill/>
              </a:ln>
              <a:solidFill>
                <a:srgbClr val="505050"/>
              </a:solidFill>
              <a:latin typeface="Segoe UI Light"/>
              <a:cs typeface="Segoe UI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9F28772-684F-4E5F-B876-CE7CC853A846}"/>
              </a:ext>
            </a:extLst>
          </p:cNvPr>
          <p:cNvSpPr txBox="1"/>
          <p:nvPr/>
        </p:nvSpPr>
        <p:spPr>
          <a:xfrm>
            <a:off x="6179302" y="6293685"/>
            <a:ext cx="5934041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DVS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SmartDocumentor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SubmissionStatusReport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PRD</a:t>
            </a:r>
            <a:endParaRPr lang="pt-PT" sz="2000" b="1" spc="-102" dirty="0">
              <a:ln w="3175">
                <a:noFill/>
              </a:ln>
              <a:solidFill>
                <a:srgbClr val="505050"/>
              </a:solidFill>
              <a:latin typeface="Segoe UI Ligh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9388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3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3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8" grpId="0"/>
      <p:bldP spid="9" grpId="0"/>
      <p:bldP spid="11" grpId="0"/>
      <p:bldP spid="12" grpId="0"/>
      <p:bldP spid="13" grpId="0"/>
      <p:bldP spid="33" grpId="0"/>
      <p:bldP spid="34" grpId="0"/>
      <p:bldP spid="35" grpId="0"/>
      <p:bldP spid="36" grpId="0"/>
      <p:bldP spid="37" grpId="0"/>
      <p:bldP spid="3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93EA0F0-FF61-4F0C-B651-6F0F2DFC0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807" y="0"/>
            <a:ext cx="118503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139981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>
            <a:extLst>
              <a:ext uri="{FF2B5EF4-FFF2-40B4-BE49-F238E27FC236}">
                <a16:creationId xmlns:a16="http://schemas.microsoft.com/office/drawing/2014/main" id="{0BF0F40E-7427-4D05-9239-4AD2F5AF54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4" b="1036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5BCDB9-0CB4-4392-B23C-F9A93B507A9B}"/>
              </a:ext>
            </a:extLst>
          </p:cNvPr>
          <p:cNvSpPr/>
          <p:nvPr/>
        </p:nvSpPr>
        <p:spPr bwMode="auto">
          <a:xfrm>
            <a:off x="0" y="2226858"/>
            <a:ext cx="10274300" cy="1315054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D3A60EE-AFD5-4B34-8EE7-AB165748CE73}"/>
              </a:ext>
            </a:extLst>
          </p:cNvPr>
          <p:cNvSpPr txBox="1">
            <a:spLocks/>
          </p:cNvSpPr>
          <p:nvPr/>
        </p:nvSpPr>
        <p:spPr>
          <a:xfrm>
            <a:off x="269238" y="2377870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name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and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rename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ctions….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2A3C84-E802-4060-A260-BEF8B49D1FAB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47180A-C4B1-4814-85F0-531C4DB7B11E}"/>
              </a:ext>
            </a:extLst>
          </p:cNvPr>
          <p:cNvSpPr txBox="1"/>
          <p:nvPr/>
        </p:nvSpPr>
        <p:spPr>
          <a:xfrm>
            <a:off x="646917" y="1547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2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B64747-CE29-44DC-9E30-8F65A2C25E52}"/>
              </a:ext>
            </a:extLst>
          </p:cNvPr>
          <p:cNvSpPr txBox="1"/>
          <p:nvPr/>
        </p:nvSpPr>
        <p:spPr>
          <a:xfrm>
            <a:off x="4356100" y="542604"/>
            <a:ext cx="7411757" cy="16250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Use descriptive nam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mproves readability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Transfer knowledge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sz="24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You can’t rename actions that have dependencies…</a:t>
            </a:r>
            <a:endParaRPr lang="en-US" sz="2800" b="1" spc="-102" dirty="0">
              <a:ln w="3175">
                <a:noFill/>
              </a:ln>
              <a:solidFill>
                <a:srgbClr val="505050"/>
              </a:solidFill>
              <a:latin typeface="Segoe UI Ligh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6807908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gnus Master Theme">
  <a:themeElements>
    <a:clrScheme name="Custom 4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072C6"/>
      </a:accent1>
      <a:accent2>
        <a:srgbClr val="DC3C00"/>
      </a:accent2>
      <a:accent3>
        <a:srgbClr val="505050"/>
      </a:accent3>
      <a:accent4>
        <a:srgbClr val="D2D2D2"/>
      </a:accent4>
      <a:accent5>
        <a:srgbClr val="7FBA00"/>
      </a:accent5>
      <a:accent6>
        <a:srgbClr val="007233"/>
      </a:accent6>
      <a:hlink>
        <a:srgbClr val="FFFFFF"/>
      </a:hlink>
      <a:folHlink>
        <a:srgbClr val="FFFFFF"/>
      </a:folHlink>
    </a:clrScheme>
    <a:fontScheme name="Custom Theme Fonts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Ed_2013_Template_r05" id="{52CF7746-2BCC-4712-8D0A-4EFD2BD35E94}" vid="{95027F19-C175-4D31-A201-08949528A904}"/>
    </a:ext>
  </a:extLst>
</a:theme>
</file>

<file path=ppt/theme/theme2.xml><?xml version="1.0" encoding="utf-8"?>
<a:theme xmlns:a="http://schemas.openxmlformats.org/drawingml/2006/main" name="MSVID_Product_Brand_template_16-9_WHITE_Cyan-accent">
  <a:themeElements>
    <a:clrScheme name="Custom 1">
      <a:dk1>
        <a:srgbClr val="505050"/>
      </a:dk1>
      <a:lt1>
        <a:srgbClr val="FFFFFF"/>
      </a:lt1>
      <a:dk2>
        <a:srgbClr val="0072C6"/>
      </a:dk2>
      <a:lt2>
        <a:srgbClr val="D2D2D2"/>
      </a:lt2>
      <a:accent1>
        <a:srgbClr val="0072C6"/>
      </a:accent1>
      <a:accent2>
        <a:srgbClr val="68217A"/>
      </a:accent2>
      <a:accent3>
        <a:srgbClr val="008272"/>
      </a:accent3>
      <a:accent4>
        <a:srgbClr val="9B9B9B"/>
      </a:accent4>
      <a:accent5>
        <a:srgbClr val="442359"/>
      </a:accent5>
      <a:accent6>
        <a:srgbClr val="4668C5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>
          <a:lnSpc>
            <a:spcPct val="90000"/>
          </a:lnSpc>
          <a:defRPr sz="240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Integrate 2019 UK Single Spekaer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MSVID_Product_Brand_template_16-9_WHITE_Cyan-accent">
  <a:themeElements>
    <a:clrScheme name="Custom 1">
      <a:dk1>
        <a:srgbClr val="505050"/>
      </a:dk1>
      <a:lt1>
        <a:srgbClr val="FFFFFF"/>
      </a:lt1>
      <a:dk2>
        <a:srgbClr val="0072C6"/>
      </a:dk2>
      <a:lt2>
        <a:srgbClr val="D2D2D2"/>
      </a:lt2>
      <a:accent1>
        <a:srgbClr val="0072C6"/>
      </a:accent1>
      <a:accent2>
        <a:srgbClr val="68217A"/>
      </a:accent2>
      <a:accent3>
        <a:srgbClr val="008272"/>
      </a:accent3>
      <a:accent4>
        <a:srgbClr val="9B9B9B"/>
      </a:accent4>
      <a:accent5>
        <a:srgbClr val="442359"/>
      </a:accent5>
      <a:accent6>
        <a:srgbClr val="4668C5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>
          <a:lnSpc>
            <a:spcPct val="90000"/>
          </a:lnSpc>
          <a:defRPr sz="240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MSVID_Product_Brand_template_16-9_WHITE_Cyan-accent">
  <a:themeElements>
    <a:clrScheme name="Product Brand- white with magenta accents">
      <a:dk1>
        <a:srgbClr val="505050"/>
      </a:dk1>
      <a:lt1>
        <a:srgbClr val="FFFFFF"/>
      </a:lt1>
      <a:dk2>
        <a:srgbClr val="0072C6"/>
      </a:dk2>
      <a:lt2>
        <a:srgbClr val="D2D2D2"/>
      </a:lt2>
      <a:accent1>
        <a:srgbClr val="0072C6"/>
      </a:accent1>
      <a:accent2>
        <a:srgbClr val="68217A"/>
      </a:accent2>
      <a:accent3>
        <a:srgbClr val="008272"/>
      </a:accent3>
      <a:accent4>
        <a:srgbClr val="B4009E"/>
      </a:accent4>
      <a:accent5>
        <a:srgbClr val="442359"/>
      </a:accent5>
      <a:accent6>
        <a:srgbClr val="4668C5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>
          <a:lnSpc>
            <a:spcPct val="90000"/>
          </a:lnSpc>
          <a:defRPr sz="240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14</TotalTime>
  <Words>667</Words>
  <Application>Microsoft Office PowerPoint</Application>
  <PresentationFormat>Widescreen</PresentationFormat>
  <Paragraphs>124</Paragraphs>
  <Slides>3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55" baseType="lpstr">
      <vt:lpstr>Arial</vt:lpstr>
      <vt:lpstr>Calibri</vt:lpstr>
      <vt:lpstr>Consolas</vt:lpstr>
      <vt:lpstr>Fabrica</vt:lpstr>
      <vt:lpstr>nyt-magsans</vt:lpstr>
      <vt:lpstr>Poppins</vt:lpstr>
      <vt:lpstr>Questrial</vt:lpstr>
      <vt:lpstr>Segoe UI</vt:lpstr>
      <vt:lpstr>Segoe UI Black</vt:lpstr>
      <vt:lpstr>Segoe UI Light</vt:lpstr>
      <vt:lpstr>Segoe UI Semibold</vt:lpstr>
      <vt:lpstr>Wingdings</vt:lpstr>
      <vt:lpstr>Magnus Master Theme</vt:lpstr>
      <vt:lpstr>MSVID_Product_Brand_template_16-9_WHITE_Cyan-accent</vt:lpstr>
      <vt:lpstr>1_Integrate 2019 UK Single Spekaer Template</vt:lpstr>
      <vt:lpstr>1_MSVID_Product_Brand_template_16-9_WHITE_Cyan-accent</vt:lpstr>
      <vt:lpstr>2_MSVID_Product_Brand_template_16-9_WHITE_Cyan-acce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Wood</dc:creator>
  <cp:lastModifiedBy>Sandro Pereira</cp:lastModifiedBy>
  <cp:revision>49</cp:revision>
  <dcterms:created xsi:type="dcterms:W3CDTF">2014-03-24T01:30:59Z</dcterms:created>
  <dcterms:modified xsi:type="dcterms:W3CDTF">2020-04-26T09:56:44Z</dcterms:modified>
</cp:coreProperties>
</file>